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3"/>
  </p:notesMasterIdLst>
  <p:handoutMasterIdLst>
    <p:handoutMasterId r:id="rId44"/>
  </p:handoutMasterIdLst>
  <p:sldIdLst>
    <p:sldId id="1938" r:id="rId5"/>
    <p:sldId id="1939" r:id="rId6"/>
    <p:sldId id="1957" r:id="rId7"/>
    <p:sldId id="1941" r:id="rId8"/>
    <p:sldId id="1942" r:id="rId9"/>
    <p:sldId id="1943" r:id="rId10"/>
    <p:sldId id="1944" r:id="rId11"/>
    <p:sldId id="1945" r:id="rId12"/>
    <p:sldId id="1946" r:id="rId13"/>
    <p:sldId id="1947" r:id="rId14"/>
    <p:sldId id="1948" r:id="rId15"/>
    <p:sldId id="1949" r:id="rId16"/>
    <p:sldId id="1950" r:id="rId17"/>
    <p:sldId id="1951" r:id="rId18"/>
    <p:sldId id="1952" r:id="rId19"/>
    <p:sldId id="1953" r:id="rId20"/>
    <p:sldId id="1954" r:id="rId21"/>
    <p:sldId id="1955" r:id="rId22"/>
    <p:sldId id="1956" r:id="rId23"/>
    <p:sldId id="1494" r:id="rId24"/>
    <p:sldId id="1495" r:id="rId25"/>
    <p:sldId id="1501" r:id="rId26"/>
    <p:sldId id="1496" r:id="rId27"/>
    <p:sldId id="1909" r:id="rId28"/>
    <p:sldId id="1915" r:id="rId29"/>
    <p:sldId id="1916" r:id="rId30"/>
    <p:sldId id="1918" r:id="rId31"/>
    <p:sldId id="1508" r:id="rId32"/>
    <p:sldId id="1509" r:id="rId33"/>
    <p:sldId id="1512" r:id="rId34"/>
    <p:sldId id="1510" r:id="rId35"/>
    <p:sldId id="1511" r:id="rId36"/>
    <p:sldId id="1911" r:id="rId37"/>
    <p:sldId id="1912" r:id="rId38"/>
    <p:sldId id="1917" r:id="rId39"/>
    <p:sldId id="1913" r:id="rId40"/>
    <p:sldId id="1871" r:id="rId41"/>
    <p:sldId id="1870"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203">
          <p15:clr>
            <a:srgbClr val="A4A3A4"/>
          </p15:clr>
        </p15:guide>
        <p15:guide id="3"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FF7979"/>
    <a:srgbClr val="FF2F2F"/>
    <a:srgbClr val="FF0000"/>
    <a:srgbClr val="7F7F7F"/>
    <a:srgbClr val="000000"/>
    <a:srgbClr val="ABABAB"/>
    <a:srgbClr val="EBEBEB"/>
    <a:srgbClr val="59B4D9"/>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044092-C018-48CA-B25B-616345ED741B}" v="24" dt="2020-07-15T15:05:04.660"/>
    <p1510:client id="{4621DC45-EED2-46EA-AE72-442C9205C2C4}" v="1" dt="2020-07-14T17:27:33.643"/>
    <p1510:client id="{D2981CD7-4F5B-41D8-84D4-0A3F29AD08FD}" v="65" dt="2020-07-15T15:09:16.7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426" y="102"/>
      </p:cViewPr>
      <p:guideLst>
        <p:guide orient="horz" pos="2203"/>
        <p:guide pos="3917"/>
      </p:guideLst>
    </p:cSldViewPr>
  </p:slideViewPr>
  <p:notesTextViewPr>
    <p:cViewPr>
      <p:scale>
        <a:sx n="1" d="1"/>
        <a:sy n="1" d="1"/>
      </p:scale>
      <p:origin x="0" y="0"/>
    </p:cViewPr>
  </p:notesTextViewPr>
  <p:sorterViewPr>
    <p:cViewPr>
      <p:scale>
        <a:sx n="100" d="100"/>
        <a:sy n="100" d="100"/>
      </p:scale>
      <p:origin x="0" y="-6979"/>
    </p:cViewPr>
  </p:sorter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pefirmly Lyngdoh [Chillibreeze]" userId="01a7a686-b86c-48d4-b45c-9f5406d63a6c" providerId="ADAL" clId="{9E4800E7-10F6-40F5-9D02-1A116C11FA00}"/>
    <pc:docChg chg="undo custSel addSld modSld">
      <pc:chgData name="Hopefirmly Lyngdoh [Chillibreeze]" userId="01a7a686-b86c-48d4-b45c-9f5406d63a6c" providerId="ADAL" clId="{9E4800E7-10F6-40F5-9D02-1A116C11FA00}" dt="2020-07-11T07:12:29.211" v="454" actId="1582"/>
      <pc:docMkLst>
        <pc:docMk/>
      </pc:docMkLst>
      <pc:sldChg chg="addSp delSp modSp mod">
        <pc:chgData name="Hopefirmly Lyngdoh [Chillibreeze]" userId="01a7a686-b86c-48d4-b45c-9f5406d63a6c" providerId="ADAL" clId="{9E4800E7-10F6-40F5-9D02-1A116C11FA00}" dt="2020-07-10T17:49:35.308" v="225" actId="21"/>
        <pc:sldMkLst>
          <pc:docMk/>
          <pc:sldMk cId="1548455647" sldId="1494"/>
        </pc:sldMkLst>
        <pc:spChg chg="add del mod">
          <ac:chgData name="Hopefirmly Lyngdoh [Chillibreeze]" userId="01a7a686-b86c-48d4-b45c-9f5406d63a6c" providerId="ADAL" clId="{9E4800E7-10F6-40F5-9D02-1A116C11FA00}" dt="2020-07-10T17:49:35.308" v="225" actId="21"/>
          <ac:spMkLst>
            <pc:docMk/>
            <pc:sldMk cId="1548455647" sldId="1494"/>
            <ac:spMk id="9" creationId="{10A33633-E65D-401C-BB80-2DD84F030F3E}"/>
          </ac:spMkLst>
        </pc:spChg>
      </pc:sldChg>
      <pc:sldChg chg="modSp mod">
        <pc:chgData name="Hopefirmly Lyngdoh [Chillibreeze]" userId="01a7a686-b86c-48d4-b45c-9f5406d63a6c" providerId="ADAL" clId="{9E4800E7-10F6-40F5-9D02-1A116C11FA00}" dt="2020-07-10T17:49:55.227" v="226" actId="465"/>
        <pc:sldMkLst>
          <pc:docMk/>
          <pc:sldMk cId="1605244184" sldId="1495"/>
        </pc:sldMkLst>
        <pc:cxnChg chg="mod">
          <ac:chgData name="Hopefirmly Lyngdoh [Chillibreeze]" userId="01a7a686-b86c-48d4-b45c-9f5406d63a6c" providerId="ADAL" clId="{9E4800E7-10F6-40F5-9D02-1A116C11FA00}" dt="2020-07-10T17:49:55.227" v="226" actId="465"/>
          <ac:cxnSpMkLst>
            <pc:docMk/>
            <pc:sldMk cId="1605244184" sldId="1495"/>
            <ac:cxnSpMk id="15" creationId="{6043271A-A504-48F2-9423-564308331494}"/>
          </ac:cxnSpMkLst>
        </pc:cxnChg>
      </pc:sldChg>
      <pc:sldChg chg="modSp mod">
        <pc:chgData name="Hopefirmly Lyngdoh [Chillibreeze]" userId="01a7a686-b86c-48d4-b45c-9f5406d63a6c" providerId="ADAL" clId="{9E4800E7-10F6-40F5-9D02-1A116C11FA00}" dt="2020-07-11T07:11:28.710" v="450" actId="20577"/>
        <pc:sldMkLst>
          <pc:docMk/>
          <pc:sldMk cId="2501132300" sldId="1496"/>
        </pc:sldMkLst>
        <pc:spChg chg="mod">
          <ac:chgData name="Hopefirmly Lyngdoh [Chillibreeze]" userId="01a7a686-b86c-48d4-b45c-9f5406d63a6c" providerId="ADAL" clId="{9E4800E7-10F6-40F5-9D02-1A116C11FA00}" dt="2020-07-11T07:11:28.710" v="450" actId="20577"/>
          <ac:spMkLst>
            <pc:docMk/>
            <pc:sldMk cId="2501132300" sldId="1496"/>
            <ac:spMk id="7" creationId="{36FF0CDF-FFF7-45E0-B491-4E91C75C3A31}"/>
          </ac:spMkLst>
        </pc:spChg>
      </pc:sldChg>
      <pc:sldChg chg="modSp mod">
        <pc:chgData name="Hopefirmly Lyngdoh [Chillibreeze]" userId="01a7a686-b86c-48d4-b45c-9f5406d63a6c" providerId="ADAL" clId="{9E4800E7-10F6-40F5-9D02-1A116C11FA00}" dt="2020-07-10T17:52:04.891" v="235" actId="14100"/>
        <pc:sldMkLst>
          <pc:docMk/>
          <pc:sldMk cId="1380867704" sldId="1508"/>
        </pc:sldMkLst>
        <pc:spChg chg="mod">
          <ac:chgData name="Hopefirmly Lyngdoh [Chillibreeze]" userId="01a7a686-b86c-48d4-b45c-9f5406d63a6c" providerId="ADAL" clId="{9E4800E7-10F6-40F5-9D02-1A116C11FA00}" dt="2020-07-10T17:51:33.298" v="230" actId="1076"/>
          <ac:spMkLst>
            <pc:docMk/>
            <pc:sldMk cId="1380867704" sldId="1508"/>
            <ac:spMk id="7" creationId="{B6C46273-09FE-4D04-9D99-E6962DDF776C}"/>
          </ac:spMkLst>
        </pc:spChg>
        <pc:spChg chg="mod">
          <ac:chgData name="Hopefirmly Lyngdoh [Chillibreeze]" userId="01a7a686-b86c-48d4-b45c-9f5406d63a6c" providerId="ADAL" clId="{9E4800E7-10F6-40F5-9D02-1A116C11FA00}" dt="2020-07-10T17:52:04.891" v="235" actId="14100"/>
          <ac:spMkLst>
            <pc:docMk/>
            <pc:sldMk cId="1380867704" sldId="1508"/>
            <ac:spMk id="12" creationId="{032D826C-4A6B-44AB-8C59-85CF0D32EC2C}"/>
          </ac:spMkLst>
        </pc:spChg>
      </pc:sldChg>
      <pc:sldChg chg="addSp delSp modSp mod">
        <pc:chgData name="Hopefirmly Lyngdoh [Chillibreeze]" userId="01a7a686-b86c-48d4-b45c-9f5406d63a6c" providerId="ADAL" clId="{9E4800E7-10F6-40F5-9D02-1A116C11FA00}" dt="2020-07-11T07:12:29.211" v="454" actId="1582"/>
        <pc:sldMkLst>
          <pc:docMk/>
          <pc:sldMk cId="392330573" sldId="1509"/>
        </pc:sldMkLst>
        <pc:spChg chg="mod">
          <ac:chgData name="Hopefirmly Lyngdoh [Chillibreeze]" userId="01a7a686-b86c-48d4-b45c-9f5406d63a6c" providerId="ADAL" clId="{9E4800E7-10F6-40F5-9D02-1A116C11FA00}" dt="2020-07-10T17:54:07.225" v="276" actId="3064"/>
          <ac:spMkLst>
            <pc:docMk/>
            <pc:sldMk cId="392330573" sldId="1509"/>
            <ac:spMk id="21" creationId="{B450E70E-ED61-46D9-ACC0-942C90402818}"/>
          </ac:spMkLst>
        </pc:spChg>
        <pc:spChg chg="mod">
          <ac:chgData name="Hopefirmly Lyngdoh [Chillibreeze]" userId="01a7a686-b86c-48d4-b45c-9f5406d63a6c" providerId="ADAL" clId="{9E4800E7-10F6-40F5-9D02-1A116C11FA00}" dt="2020-07-11T07:12:29.211" v="454" actId="1582"/>
          <ac:spMkLst>
            <pc:docMk/>
            <pc:sldMk cId="392330573" sldId="1509"/>
            <ac:spMk id="23" creationId="{4DC59243-89B0-493B-B148-C6FF1F473294}"/>
          </ac:spMkLst>
        </pc:spChg>
        <pc:spChg chg="mod topLvl">
          <ac:chgData name="Hopefirmly Lyngdoh [Chillibreeze]" userId="01a7a686-b86c-48d4-b45c-9f5406d63a6c" providerId="ADAL" clId="{9E4800E7-10F6-40F5-9D02-1A116C11FA00}" dt="2020-07-10T17:53:46.507" v="266" actId="14100"/>
          <ac:spMkLst>
            <pc:docMk/>
            <pc:sldMk cId="392330573" sldId="1509"/>
            <ac:spMk id="24" creationId="{44BEBC40-73AB-4E31-AC90-96A272D4405A}"/>
          </ac:spMkLst>
        </pc:spChg>
        <pc:spChg chg="mod topLvl">
          <ac:chgData name="Hopefirmly Lyngdoh [Chillibreeze]" userId="01a7a686-b86c-48d4-b45c-9f5406d63a6c" providerId="ADAL" clId="{9E4800E7-10F6-40F5-9D02-1A116C11FA00}" dt="2020-07-10T17:53:46.507" v="266" actId="14100"/>
          <ac:spMkLst>
            <pc:docMk/>
            <pc:sldMk cId="392330573" sldId="1509"/>
            <ac:spMk id="25" creationId="{6E120F6A-7BD5-4C1A-81F9-7B6151534432}"/>
          </ac:spMkLst>
        </pc:spChg>
        <pc:spChg chg="mod topLvl">
          <ac:chgData name="Hopefirmly Lyngdoh [Chillibreeze]" userId="01a7a686-b86c-48d4-b45c-9f5406d63a6c" providerId="ADAL" clId="{9E4800E7-10F6-40F5-9D02-1A116C11FA00}" dt="2020-07-10T17:53:46.507" v="266" actId="14100"/>
          <ac:spMkLst>
            <pc:docMk/>
            <pc:sldMk cId="392330573" sldId="1509"/>
            <ac:spMk id="26" creationId="{FB854654-FD9B-46D7-A7A6-DBD9638A0B89}"/>
          </ac:spMkLst>
        </pc:spChg>
        <pc:grpChg chg="add del mod">
          <ac:chgData name="Hopefirmly Lyngdoh [Chillibreeze]" userId="01a7a686-b86c-48d4-b45c-9f5406d63a6c" providerId="ADAL" clId="{9E4800E7-10F6-40F5-9D02-1A116C11FA00}" dt="2020-07-10T17:53:24.198" v="257" actId="165"/>
          <ac:grpSpMkLst>
            <pc:docMk/>
            <pc:sldMk cId="392330573" sldId="1509"/>
            <ac:grpSpMk id="3" creationId="{C3EF65C8-869F-453A-8A32-6DE649FD0E89}"/>
          </ac:grpSpMkLst>
        </pc:grpChg>
      </pc:sldChg>
      <pc:sldChg chg="addSp delSp modSp mod">
        <pc:chgData name="Hopefirmly Lyngdoh [Chillibreeze]" userId="01a7a686-b86c-48d4-b45c-9f5406d63a6c" providerId="ADAL" clId="{9E4800E7-10F6-40F5-9D02-1A116C11FA00}" dt="2020-07-10T17:55:41.533" v="295" actId="465"/>
        <pc:sldMkLst>
          <pc:docMk/>
          <pc:sldMk cId="1301972457" sldId="1511"/>
        </pc:sldMkLst>
        <pc:spChg chg="mod">
          <ac:chgData name="Hopefirmly Lyngdoh [Chillibreeze]" userId="01a7a686-b86c-48d4-b45c-9f5406d63a6c" providerId="ADAL" clId="{9E4800E7-10F6-40F5-9D02-1A116C11FA00}" dt="2020-07-10T17:55:32.690" v="291" actId="1076"/>
          <ac:spMkLst>
            <pc:docMk/>
            <pc:sldMk cId="1301972457" sldId="1511"/>
            <ac:spMk id="5" creationId="{34F18174-5185-4C41-9A4B-004E642CF798}"/>
          </ac:spMkLst>
        </pc:spChg>
        <pc:spChg chg="mod">
          <ac:chgData name="Hopefirmly Lyngdoh [Chillibreeze]" userId="01a7a686-b86c-48d4-b45c-9f5406d63a6c" providerId="ADAL" clId="{9E4800E7-10F6-40F5-9D02-1A116C11FA00}" dt="2020-07-10T17:55:32.690" v="291" actId="1076"/>
          <ac:spMkLst>
            <pc:docMk/>
            <pc:sldMk cId="1301972457" sldId="1511"/>
            <ac:spMk id="7" creationId="{C9921934-84FB-43C1-BA3E-BFDB4BB0080D}"/>
          </ac:spMkLst>
        </pc:spChg>
        <pc:spChg chg="mod">
          <ac:chgData name="Hopefirmly Lyngdoh [Chillibreeze]" userId="01a7a686-b86c-48d4-b45c-9f5406d63a6c" providerId="ADAL" clId="{9E4800E7-10F6-40F5-9D02-1A116C11FA00}" dt="2020-07-10T17:55:32.690" v="291" actId="1076"/>
          <ac:spMkLst>
            <pc:docMk/>
            <pc:sldMk cId="1301972457" sldId="1511"/>
            <ac:spMk id="10" creationId="{0B529BE9-A9DC-4E58-8720-E4C5C19D35BA}"/>
          </ac:spMkLst>
        </pc:spChg>
        <pc:spChg chg="mod">
          <ac:chgData name="Hopefirmly Lyngdoh [Chillibreeze]" userId="01a7a686-b86c-48d4-b45c-9f5406d63a6c" providerId="ADAL" clId="{9E4800E7-10F6-40F5-9D02-1A116C11FA00}" dt="2020-07-10T17:55:32.690" v="291" actId="1076"/>
          <ac:spMkLst>
            <pc:docMk/>
            <pc:sldMk cId="1301972457" sldId="1511"/>
            <ac:spMk id="12" creationId="{67851E99-1163-46A4-A7A6-A86052DE0BD0}"/>
          </ac:spMkLst>
        </pc:spChg>
        <pc:grpChg chg="mod">
          <ac:chgData name="Hopefirmly Lyngdoh [Chillibreeze]" userId="01a7a686-b86c-48d4-b45c-9f5406d63a6c" providerId="ADAL" clId="{9E4800E7-10F6-40F5-9D02-1A116C11FA00}" dt="2020-07-10T17:55:41.533" v="295" actId="465"/>
          <ac:grpSpMkLst>
            <pc:docMk/>
            <pc:sldMk cId="1301972457" sldId="1511"/>
            <ac:grpSpMk id="3" creationId="{E68BAD13-9599-42E4-8B00-8A7DA8B536B2}"/>
          </ac:grpSpMkLst>
        </pc:grpChg>
        <pc:grpChg chg="mod">
          <ac:chgData name="Hopefirmly Lyngdoh [Chillibreeze]" userId="01a7a686-b86c-48d4-b45c-9f5406d63a6c" providerId="ADAL" clId="{9E4800E7-10F6-40F5-9D02-1A116C11FA00}" dt="2020-07-10T17:55:41.533" v="295" actId="465"/>
          <ac:grpSpMkLst>
            <pc:docMk/>
            <pc:sldMk cId="1301972457" sldId="1511"/>
            <ac:grpSpMk id="13" creationId="{D0884BA2-989D-4B0A-809A-68495319FD18}"/>
          </ac:grpSpMkLst>
        </pc:grpChg>
        <pc:grpChg chg="mod">
          <ac:chgData name="Hopefirmly Lyngdoh [Chillibreeze]" userId="01a7a686-b86c-48d4-b45c-9f5406d63a6c" providerId="ADAL" clId="{9E4800E7-10F6-40F5-9D02-1A116C11FA00}" dt="2020-07-10T17:55:17.779" v="283" actId="1076"/>
          <ac:grpSpMkLst>
            <pc:docMk/>
            <pc:sldMk cId="1301972457" sldId="1511"/>
            <ac:grpSpMk id="14" creationId="{2AA4756F-5B35-4289-B62F-DB68E309B9B5}"/>
          </ac:grpSpMkLst>
        </pc:grpChg>
        <pc:grpChg chg="mod">
          <ac:chgData name="Hopefirmly Lyngdoh [Chillibreeze]" userId="01a7a686-b86c-48d4-b45c-9f5406d63a6c" providerId="ADAL" clId="{9E4800E7-10F6-40F5-9D02-1A116C11FA00}" dt="2020-07-10T17:55:26.812" v="287" actId="12789"/>
          <ac:grpSpMkLst>
            <pc:docMk/>
            <pc:sldMk cId="1301972457" sldId="1511"/>
            <ac:grpSpMk id="15" creationId="{CC27E04D-C697-48F2-9BA8-683128E4F211}"/>
          </ac:grpSpMkLst>
        </pc:grpChg>
        <pc:grpChg chg="add del mod">
          <ac:chgData name="Hopefirmly Lyngdoh [Chillibreeze]" userId="01a7a686-b86c-48d4-b45c-9f5406d63a6c" providerId="ADAL" clId="{9E4800E7-10F6-40F5-9D02-1A116C11FA00}" dt="2020-07-10T17:55:37.987" v="294" actId="165"/>
          <ac:grpSpMkLst>
            <pc:docMk/>
            <pc:sldMk cId="1301972457" sldId="1511"/>
            <ac:grpSpMk id="16" creationId="{225C8B31-DBFF-4273-AF25-766CB986D084}"/>
          </ac:grpSpMkLst>
        </pc:grpChg>
        <pc:cxnChg chg="mod topLvl">
          <ac:chgData name="Hopefirmly Lyngdoh [Chillibreeze]" userId="01a7a686-b86c-48d4-b45c-9f5406d63a6c" providerId="ADAL" clId="{9E4800E7-10F6-40F5-9D02-1A116C11FA00}" dt="2020-07-10T17:55:41.533" v="295" actId="465"/>
          <ac:cxnSpMkLst>
            <pc:docMk/>
            <pc:sldMk cId="1301972457" sldId="1511"/>
            <ac:cxnSpMk id="8" creationId="{66E335E5-AA1C-420A-8BD2-F24A2761F84A}"/>
          </ac:cxnSpMkLst>
        </pc:cxnChg>
        <pc:cxnChg chg="mod topLvl">
          <ac:chgData name="Hopefirmly Lyngdoh [Chillibreeze]" userId="01a7a686-b86c-48d4-b45c-9f5406d63a6c" providerId="ADAL" clId="{9E4800E7-10F6-40F5-9D02-1A116C11FA00}" dt="2020-07-10T17:55:41.533" v="295" actId="465"/>
          <ac:cxnSpMkLst>
            <pc:docMk/>
            <pc:sldMk cId="1301972457" sldId="1511"/>
            <ac:cxnSpMk id="17" creationId="{269C22AB-8FDA-4B01-8F9E-06EB0DB6054B}"/>
          </ac:cxnSpMkLst>
        </pc:cxnChg>
        <pc:cxnChg chg="mod topLvl">
          <ac:chgData name="Hopefirmly Lyngdoh [Chillibreeze]" userId="01a7a686-b86c-48d4-b45c-9f5406d63a6c" providerId="ADAL" clId="{9E4800E7-10F6-40F5-9D02-1A116C11FA00}" dt="2020-07-10T17:55:41.533" v="295" actId="465"/>
          <ac:cxnSpMkLst>
            <pc:docMk/>
            <pc:sldMk cId="1301972457" sldId="1511"/>
            <ac:cxnSpMk id="18" creationId="{4C6D91F7-F413-4A0A-870D-3AA06F449826}"/>
          </ac:cxnSpMkLst>
        </pc:cxnChg>
        <pc:cxnChg chg="del">
          <ac:chgData name="Hopefirmly Lyngdoh [Chillibreeze]" userId="01a7a686-b86c-48d4-b45c-9f5406d63a6c" providerId="ADAL" clId="{9E4800E7-10F6-40F5-9D02-1A116C11FA00}" dt="2020-07-10T17:54:55.527" v="277" actId="478"/>
          <ac:cxnSpMkLst>
            <pc:docMk/>
            <pc:sldMk cId="1301972457" sldId="1511"/>
            <ac:cxnSpMk id="19" creationId="{1F520705-DDC4-4C85-99BB-09BD08B837F5}"/>
          </ac:cxnSpMkLst>
        </pc:cxnChg>
      </pc:sldChg>
      <pc:sldChg chg="addSp delSp modSp mod">
        <pc:chgData name="Hopefirmly Lyngdoh [Chillibreeze]" userId="01a7a686-b86c-48d4-b45c-9f5406d63a6c" providerId="ADAL" clId="{9E4800E7-10F6-40F5-9D02-1A116C11FA00}" dt="2020-07-10T18:10:03.592" v="399" actId="165"/>
        <pc:sldMkLst>
          <pc:docMk/>
          <pc:sldMk cId="316322398" sldId="1870"/>
        </pc:sldMkLst>
        <pc:spChg chg="mod topLvl">
          <ac:chgData name="Hopefirmly Lyngdoh [Chillibreeze]" userId="01a7a686-b86c-48d4-b45c-9f5406d63a6c" providerId="ADAL" clId="{9E4800E7-10F6-40F5-9D02-1A116C11FA00}" dt="2020-07-10T18:10:03.592" v="399" actId="165"/>
          <ac:spMkLst>
            <pc:docMk/>
            <pc:sldMk cId="316322398" sldId="1870"/>
            <ac:spMk id="8" creationId="{FEF55901-E7BA-48EE-8BC0-03806F181D77}"/>
          </ac:spMkLst>
        </pc:spChg>
        <pc:spChg chg="mod topLvl">
          <ac:chgData name="Hopefirmly Lyngdoh [Chillibreeze]" userId="01a7a686-b86c-48d4-b45c-9f5406d63a6c" providerId="ADAL" clId="{9E4800E7-10F6-40F5-9D02-1A116C11FA00}" dt="2020-07-10T18:10:03.592" v="399" actId="165"/>
          <ac:spMkLst>
            <pc:docMk/>
            <pc:sldMk cId="316322398" sldId="1870"/>
            <ac:spMk id="10" creationId="{F89B5440-AF9A-4D0F-A1B6-976BA51B2279}"/>
          </ac:spMkLst>
        </pc:spChg>
        <pc:spChg chg="mod topLvl">
          <ac:chgData name="Hopefirmly Lyngdoh [Chillibreeze]" userId="01a7a686-b86c-48d4-b45c-9f5406d63a6c" providerId="ADAL" clId="{9E4800E7-10F6-40F5-9D02-1A116C11FA00}" dt="2020-07-10T18:10:03.592" v="399" actId="165"/>
          <ac:spMkLst>
            <pc:docMk/>
            <pc:sldMk cId="316322398" sldId="1870"/>
            <ac:spMk id="12" creationId="{D5409F01-1B08-414F-9928-31BE4B3E29DE}"/>
          </ac:spMkLst>
        </pc:spChg>
        <pc:spChg chg="mod topLvl">
          <ac:chgData name="Hopefirmly Lyngdoh [Chillibreeze]" userId="01a7a686-b86c-48d4-b45c-9f5406d63a6c" providerId="ADAL" clId="{9E4800E7-10F6-40F5-9D02-1A116C11FA00}" dt="2020-07-10T18:10:03.592" v="399" actId="165"/>
          <ac:spMkLst>
            <pc:docMk/>
            <pc:sldMk cId="316322398" sldId="1870"/>
            <ac:spMk id="14" creationId="{945A46B6-C7CF-4453-BAAE-03794F485BF4}"/>
          </ac:spMkLst>
        </pc:spChg>
        <pc:spChg chg="mod topLvl">
          <ac:chgData name="Hopefirmly Lyngdoh [Chillibreeze]" userId="01a7a686-b86c-48d4-b45c-9f5406d63a6c" providerId="ADAL" clId="{9E4800E7-10F6-40F5-9D02-1A116C11FA00}" dt="2020-07-10T18:10:03.592" v="399" actId="165"/>
          <ac:spMkLst>
            <pc:docMk/>
            <pc:sldMk cId="316322398" sldId="1870"/>
            <ac:spMk id="16" creationId="{8A77DD0C-59C7-4C0F-9BC5-8FAC7F7EECA7}"/>
          </ac:spMkLst>
        </pc:spChg>
        <pc:spChg chg="mod topLvl">
          <ac:chgData name="Hopefirmly Lyngdoh [Chillibreeze]" userId="01a7a686-b86c-48d4-b45c-9f5406d63a6c" providerId="ADAL" clId="{9E4800E7-10F6-40F5-9D02-1A116C11FA00}" dt="2020-07-10T18:08:11.424" v="380" actId="165"/>
          <ac:spMkLst>
            <pc:docMk/>
            <pc:sldMk cId="316322398" sldId="1870"/>
            <ac:spMk id="18" creationId="{D2DF32ED-F30C-4A47-90A3-B19FD83B76CD}"/>
          </ac:spMkLst>
        </pc:spChg>
        <pc:spChg chg="mod topLvl">
          <ac:chgData name="Hopefirmly Lyngdoh [Chillibreeze]" userId="01a7a686-b86c-48d4-b45c-9f5406d63a6c" providerId="ADAL" clId="{9E4800E7-10F6-40F5-9D02-1A116C11FA00}" dt="2020-07-10T18:09:54.107" v="396" actId="12789"/>
          <ac:spMkLst>
            <pc:docMk/>
            <pc:sldMk cId="316322398" sldId="1870"/>
            <ac:spMk id="19" creationId="{4AFB65EE-26A2-4AEF-8BEF-754BC3533E29}"/>
          </ac:spMkLst>
        </pc:spChg>
        <pc:spChg chg="mod topLvl">
          <ac:chgData name="Hopefirmly Lyngdoh [Chillibreeze]" userId="01a7a686-b86c-48d4-b45c-9f5406d63a6c" providerId="ADAL" clId="{9E4800E7-10F6-40F5-9D02-1A116C11FA00}" dt="2020-07-10T18:09:49.458" v="394" actId="12789"/>
          <ac:spMkLst>
            <pc:docMk/>
            <pc:sldMk cId="316322398" sldId="1870"/>
            <ac:spMk id="21" creationId="{F49F6868-05F1-4EE4-A1A2-F0A08C944653}"/>
          </ac:spMkLst>
        </pc:spChg>
        <pc:spChg chg="mod topLvl">
          <ac:chgData name="Hopefirmly Lyngdoh [Chillibreeze]" userId="01a7a686-b86c-48d4-b45c-9f5406d63a6c" providerId="ADAL" clId="{9E4800E7-10F6-40F5-9D02-1A116C11FA00}" dt="2020-07-10T18:08:11.424" v="380" actId="165"/>
          <ac:spMkLst>
            <pc:docMk/>
            <pc:sldMk cId="316322398" sldId="1870"/>
            <ac:spMk id="22" creationId="{D1862062-183F-4FD5-B71D-DB7202ABE5E4}"/>
          </ac:spMkLst>
        </pc:spChg>
        <pc:spChg chg="mod topLvl">
          <ac:chgData name="Hopefirmly Lyngdoh [Chillibreeze]" userId="01a7a686-b86c-48d4-b45c-9f5406d63a6c" providerId="ADAL" clId="{9E4800E7-10F6-40F5-9D02-1A116C11FA00}" dt="2020-07-10T18:08:11.424" v="380" actId="165"/>
          <ac:spMkLst>
            <pc:docMk/>
            <pc:sldMk cId="316322398" sldId="1870"/>
            <ac:spMk id="26" creationId="{423C33BE-9D6A-4AE9-BAFD-7E4CED6842EB}"/>
          </ac:spMkLst>
        </pc:spChg>
        <pc:spChg chg="mod topLvl">
          <ac:chgData name="Hopefirmly Lyngdoh [Chillibreeze]" userId="01a7a686-b86c-48d4-b45c-9f5406d63a6c" providerId="ADAL" clId="{9E4800E7-10F6-40F5-9D02-1A116C11FA00}" dt="2020-07-10T18:09:51.588" v="395" actId="12789"/>
          <ac:spMkLst>
            <pc:docMk/>
            <pc:sldMk cId="316322398" sldId="1870"/>
            <ac:spMk id="27" creationId="{91028A9E-5608-4B8B-A4D8-702F002D710E}"/>
          </ac:spMkLst>
        </pc:spChg>
        <pc:spChg chg="mod topLvl">
          <ac:chgData name="Hopefirmly Lyngdoh [Chillibreeze]" userId="01a7a686-b86c-48d4-b45c-9f5406d63a6c" providerId="ADAL" clId="{9E4800E7-10F6-40F5-9D02-1A116C11FA00}" dt="2020-07-10T18:08:11.424" v="380" actId="165"/>
          <ac:spMkLst>
            <pc:docMk/>
            <pc:sldMk cId="316322398" sldId="1870"/>
            <ac:spMk id="29" creationId="{44E1FE4F-44A2-4427-8FF0-3DE8CEBF09EF}"/>
          </ac:spMkLst>
        </pc:spChg>
        <pc:spChg chg="mod topLvl">
          <ac:chgData name="Hopefirmly Lyngdoh [Chillibreeze]" userId="01a7a686-b86c-48d4-b45c-9f5406d63a6c" providerId="ADAL" clId="{9E4800E7-10F6-40F5-9D02-1A116C11FA00}" dt="2020-07-10T18:09:43.906" v="391" actId="12789"/>
          <ac:spMkLst>
            <pc:docMk/>
            <pc:sldMk cId="316322398" sldId="1870"/>
            <ac:spMk id="30" creationId="{D5ADAAFA-F982-467E-8ADF-FBA5F17A153A}"/>
          </ac:spMkLst>
        </pc:spChg>
        <pc:spChg chg="mod topLvl">
          <ac:chgData name="Hopefirmly Lyngdoh [Chillibreeze]" userId="01a7a686-b86c-48d4-b45c-9f5406d63a6c" providerId="ADAL" clId="{9E4800E7-10F6-40F5-9D02-1A116C11FA00}" dt="2020-07-10T18:08:11.424" v="380" actId="165"/>
          <ac:spMkLst>
            <pc:docMk/>
            <pc:sldMk cId="316322398" sldId="1870"/>
            <ac:spMk id="32" creationId="{52C9C4CE-73B1-4B8E-9700-4D21C9E221DF}"/>
          </ac:spMkLst>
        </pc:spChg>
        <pc:spChg chg="mod topLvl">
          <ac:chgData name="Hopefirmly Lyngdoh [Chillibreeze]" userId="01a7a686-b86c-48d4-b45c-9f5406d63a6c" providerId="ADAL" clId="{9E4800E7-10F6-40F5-9D02-1A116C11FA00}" dt="2020-07-10T18:09:46.888" v="393" actId="12789"/>
          <ac:spMkLst>
            <pc:docMk/>
            <pc:sldMk cId="316322398" sldId="1870"/>
            <ac:spMk id="33" creationId="{60723F4D-8D68-4062-9DE7-1A08CF4E178F}"/>
          </ac:spMkLst>
        </pc:spChg>
        <pc:grpChg chg="add del mod">
          <ac:chgData name="Hopefirmly Lyngdoh [Chillibreeze]" userId="01a7a686-b86c-48d4-b45c-9f5406d63a6c" providerId="ADAL" clId="{9E4800E7-10F6-40F5-9D02-1A116C11FA00}" dt="2020-07-10T18:08:11.424" v="380" actId="165"/>
          <ac:grpSpMkLst>
            <pc:docMk/>
            <pc:sldMk cId="316322398" sldId="1870"/>
            <ac:grpSpMk id="3" creationId="{E431D017-BF43-4DCE-9FDA-63525681F2B7}"/>
          </ac:grpSpMkLst>
        </pc:grpChg>
        <pc:grpChg chg="add del mod">
          <ac:chgData name="Hopefirmly Lyngdoh [Chillibreeze]" userId="01a7a686-b86c-48d4-b45c-9f5406d63a6c" providerId="ADAL" clId="{9E4800E7-10F6-40F5-9D02-1A116C11FA00}" dt="2020-07-10T18:08:11.424" v="380" actId="165"/>
          <ac:grpSpMkLst>
            <pc:docMk/>
            <pc:sldMk cId="316322398" sldId="1870"/>
            <ac:grpSpMk id="9" creationId="{B3494A9E-14E0-4F4F-AF40-04A13B19BC5C}"/>
          </ac:grpSpMkLst>
        </pc:grpChg>
        <pc:grpChg chg="add del mod">
          <ac:chgData name="Hopefirmly Lyngdoh [Chillibreeze]" userId="01a7a686-b86c-48d4-b45c-9f5406d63a6c" providerId="ADAL" clId="{9E4800E7-10F6-40F5-9D02-1A116C11FA00}" dt="2020-07-10T18:08:11.424" v="380" actId="165"/>
          <ac:grpSpMkLst>
            <pc:docMk/>
            <pc:sldMk cId="316322398" sldId="1870"/>
            <ac:grpSpMk id="11" creationId="{91CC0B59-FA8D-4476-B2B4-913CDF4AFE52}"/>
          </ac:grpSpMkLst>
        </pc:grpChg>
        <pc:grpChg chg="add del mod">
          <ac:chgData name="Hopefirmly Lyngdoh [Chillibreeze]" userId="01a7a686-b86c-48d4-b45c-9f5406d63a6c" providerId="ADAL" clId="{9E4800E7-10F6-40F5-9D02-1A116C11FA00}" dt="2020-07-10T18:08:11.424" v="380" actId="165"/>
          <ac:grpSpMkLst>
            <pc:docMk/>
            <pc:sldMk cId="316322398" sldId="1870"/>
            <ac:grpSpMk id="13" creationId="{65F5CE00-9D90-4369-BDE3-069F7F23713E}"/>
          </ac:grpSpMkLst>
        </pc:grpChg>
        <pc:grpChg chg="add mod topLvl">
          <ac:chgData name="Hopefirmly Lyngdoh [Chillibreeze]" userId="01a7a686-b86c-48d4-b45c-9f5406d63a6c" providerId="ADAL" clId="{9E4800E7-10F6-40F5-9D02-1A116C11FA00}" dt="2020-07-10T18:10:03.592" v="399" actId="165"/>
          <ac:grpSpMkLst>
            <pc:docMk/>
            <pc:sldMk cId="316322398" sldId="1870"/>
            <ac:grpSpMk id="15" creationId="{43481F65-1AE6-4069-93AC-A98E56777082}"/>
          </ac:grpSpMkLst>
        </pc:grpChg>
        <pc:grpChg chg="add del mod">
          <ac:chgData name="Hopefirmly Lyngdoh [Chillibreeze]" userId="01a7a686-b86c-48d4-b45c-9f5406d63a6c" providerId="ADAL" clId="{9E4800E7-10F6-40F5-9D02-1A116C11FA00}" dt="2020-07-10T18:10:03.592" v="399" actId="165"/>
          <ac:grpSpMkLst>
            <pc:docMk/>
            <pc:sldMk cId="316322398" sldId="1870"/>
            <ac:grpSpMk id="17" creationId="{CD186252-3C50-47ED-ACAE-5CB8470672B3}"/>
          </ac:grpSpMkLst>
        </pc:grpChg>
        <pc:grpChg chg="del mod">
          <ac:chgData name="Hopefirmly Lyngdoh [Chillibreeze]" userId="01a7a686-b86c-48d4-b45c-9f5406d63a6c" providerId="ADAL" clId="{9E4800E7-10F6-40F5-9D02-1A116C11FA00}" dt="2020-07-10T18:08:11.424" v="380" actId="165"/>
          <ac:grpSpMkLst>
            <pc:docMk/>
            <pc:sldMk cId="316322398" sldId="1870"/>
            <ac:grpSpMk id="42" creationId="{5849D5A9-AF1F-4B53-8775-35BB6E5FE632}"/>
          </ac:grpSpMkLst>
        </pc:grpChg>
        <pc:cxnChg chg="mod">
          <ac:chgData name="Hopefirmly Lyngdoh [Chillibreeze]" userId="01a7a686-b86c-48d4-b45c-9f5406d63a6c" providerId="ADAL" clId="{9E4800E7-10F6-40F5-9D02-1A116C11FA00}" dt="2020-07-10T18:10:03.592" v="399" actId="165"/>
          <ac:cxnSpMkLst>
            <pc:docMk/>
            <pc:sldMk cId="316322398" sldId="1870"/>
            <ac:cxnSpMk id="4" creationId="{8596AC18-6995-4948-B61C-D474C096DD56}"/>
          </ac:cxnSpMkLst>
        </pc:cxnChg>
        <pc:cxnChg chg="mod">
          <ac:chgData name="Hopefirmly Lyngdoh [Chillibreeze]" userId="01a7a686-b86c-48d4-b45c-9f5406d63a6c" providerId="ADAL" clId="{9E4800E7-10F6-40F5-9D02-1A116C11FA00}" dt="2020-07-10T18:10:03.592" v="399" actId="165"/>
          <ac:cxnSpMkLst>
            <pc:docMk/>
            <pc:sldMk cId="316322398" sldId="1870"/>
            <ac:cxnSpMk id="5" creationId="{FEAEA9BE-4AE5-4C37-9E2B-833B4F93F1FC}"/>
          </ac:cxnSpMkLst>
        </pc:cxnChg>
        <pc:cxnChg chg="mod">
          <ac:chgData name="Hopefirmly Lyngdoh [Chillibreeze]" userId="01a7a686-b86c-48d4-b45c-9f5406d63a6c" providerId="ADAL" clId="{9E4800E7-10F6-40F5-9D02-1A116C11FA00}" dt="2020-07-10T18:10:03.592" v="399" actId="165"/>
          <ac:cxnSpMkLst>
            <pc:docMk/>
            <pc:sldMk cId="316322398" sldId="1870"/>
            <ac:cxnSpMk id="6" creationId="{8184C42D-7A1E-4A25-A66A-D2EBDC09FFB9}"/>
          </ac:cxnSpMkLst>
        </pc:cxnChg>
        <pc:cxnChg chg="mod">
          <ac:chgData name="Hopefirmly Lyngdoh [Chillibreeze]" userId="01a7a686-b86c-48d4-b45c-9f5406d63a6c" providerId="ADAL" clId="{9E4800E7-10F6-40F5-9D02-1A116C11FA00}" dt="2020-07-10T18:10:03.592" v="399" actId="165"/>
          <ac:cxnSpMkLst>
            <pc:docMk/>
            <pc:sldMk cId="316322398" sldId="1870"/>
            <ac:cxnSpMk id="7" creationId="{150DC724-883C-4D6C-AD63-D8F4E81ACA5C}"/>
          </ac:cxnSpMkLst>
        </pc:cxnChg>
      </pc:sldChg>
      <pc:sldChg chg="delSp modSp mod">
        <pc:chgData name="Hopefirmly Lyngdoh [Chillibreeze]" userId="01a7a686-b86c-48d4-b45c-9f5406d63a6c" providerId="ADAL" clId="{9E4800E7-10F6-40F5-9D02-1A116C11FA00}" dt="2020-07-10T18:01:33.278" v="353" actId="1076"/>
        <pc:sldMkLst>
          <pc:docMk/>
          <pc:sldMk cId="3665884044" sldId="1871"/>
        </pc:sldMkLst>
        <pc:spChg chg="mod">
          <ac:chgData name="Hopefirmly Lyngdoh [Chillibreeze]" userId="01a7a686-b86c-48d4-b45c-9f5406d63a6c" providerId="ADAL" clId="{9E4800E7-10F6-40F5-9D02-1A116C11FA00}" dt="2020-07-10T18:01:33.278" v="353" actId="1076"/>
          <ac:spMkLst>
            <pc:docMk/>
            <pc:sldMk cId="3665884044" sldId="1871"/>
            <ac:spMk id="2" creationId="{5F359BF1-DFBD-478C-ACA3-333D99FCFEDF}"/>
          </ac:spMkLst>
        </pc:spChg>
        <pc:spChg chg="mod">
          <ac:chgData name="Hopefirmly Lyngdoh [Chillibreeze]" userId="01a7a686-b86c-48d4-b45c-9f5406d63a6c" providerId="ADAL" clId="{9E4800E7-10F6-40F5-9D02-1A116C11FA00}" dt="2020-07-10T18:00:48.604" v="342" actId="12789"/>
          <ac:spMkLst>
            <pc:docMk/>
            <pc:sldMk cId="3665884044" sldId="1871"/>
            <ac:spMk id="35" creationId="{47CA7872-3E02-42E1-BB4A-BAA233B4E4A2}"/>
          </ac:spMkLst>
        </pc:spChg>
        <pc:spChg chg="mod">
          <ac:chgData name="Hopefirmly Lyngdoh [Chillibreeze]" userId="01a7a686-b86c-48d4-b45c-9f5406d63a6c" providerId="ADAL" clId="{9E4800E7-10F6-40F5-9D02-1A116C11FA00}" dt="2020-07-10T18:01:28.234" v="350" actId="12789"/>
          <ac:spMkLst>
            <pc:docMk/>
            <pc:sldMk cId="3665884044" sldId="1871"/>
            <ac:spMk id="40" creationId="{33D85280-AB98-4966-B839-92895C2F0F1A}"/>
          </ac:spMkLst>
        </pc:spChg>
        <pc:spChg chg="mod">
          <ac:chgData name="Hopefirmly Lyngdoh [Chillibreeze]" userId="01a7a686-b86c-48d4-b45c-9f5406d63a6c" providerId="ADAL" clId="{9E4800E7-10F6-40F5-9D02-1A116C11FA00}" dt="2020-07-10T18:01:23.402" v="348" actId="12789"/>
          <ac:spMkLst>
            <pc:docMk/>
            <pc:sldMk cId="3665884044" sldId="1871"/>
            <ac:spMk id="42" creationId="{6F5B4E5A-3D02-4D97-B0C5-F934A276D27F}"/>
          </ac:spMkLst>
        </pc:spChg>
        <pc:spChg chg="mod">
          <ac:chgData name="Hopefirmly Lyngdoh [Chillibreeze]" userId="01a7a686-b86c-48d4-b45c-9f5406d63a6c" providerId="ADAL" clId="{9E4800E7-10F6-40F5-9D02-1A116C11FA00}" dt="2020-07-10T18:01:19.718" v="347" actId="12789"/>
          <ac:spMkLst>
            <pc:docMk/>
            <pc:sldMk cId="3665884044" sldId="1871"/>
            <ac:spMk id="50" creationId="{24701312-AC51-4989-BA55-330ACCF4A5B8}"/>
          </ac:spMkLst>
        </pc:spChg>
        <pc:spChg chg="mod topLvl">
          <ac:chgData name="Hopefirmly Lyngdoh [Chillibreeze]" userId="01a7a686-b86c-48d4-b45c-9f5406d63a6c" providerId="ADAL" clId="{9E4800E7-10F6-40F5-9D02-1A116C11FA00}" dt="2020-07-10T18:01:15.180" v="346" actId="12789"/>
          <ac:spMkLst>
            <pc:docMk/>
            <pc:sldMk cId="3665884044" sldId="1871"/>
            <ac:spMk id="55" creationId="{81F9B736-E370-4F54-830D-6508AD80BC2C}"/>
          </ac:spMkLst>
        </pc:spChg>
        <pc:spChg chg="mod">
          <ac:chgData name="Hopefirmly Lyngdoh [Chillibreeze]" userId="01a7a686-b86c-48d4-b45c-9f5406d63a6c" providerId="ADAL" clId="{9E4800E7-10F6-40F5-9D02-1A116C11FA00}" dt="2020-07-10T18:01:25.549" v="349" actId="12789"/>
          <ac:spMkLst>
            <pc:docMk/>
            <pc:sldMk cId="3665884044" sldId="1871"/>
            <ac:spMk id="60" creationId="{C0C31B35-B60C-43DB-8AC6-B5BFC7E9FE7E}"/>
          </ac:spMkLst>
        </pc:spChg>
        <pc:spChg chg="mod">
          <ac:chgData name="Hopefirmly Lyngdoh [Chillibreeze]" userId="01a7a686-b86c-48d4-b45c-9f5406d63a6c" providerId="ADAL" clId="{9E4800E7-10F6-40F5-9D02-1A116C11FA00}" dt="2020-07-10T18:01:30.812" v="351" actId="12789"/>
          <ac:spMkLst>
            <pc:docMk/>
            <pc:sldMk cId="3665884044" sldId="1871"/>
            <ac:spMk id="99" creationId="{7906BC30-F4C1-4B43-9982-B02F31ED5CD2}"/>
          </ac:spMkLst>
        </pc:spChg>
        <pc:grpChg chg="mod">
          <ac:chgData name="Hopefirmly Lyngdoh [Chillibreeze]" userId="01a7a686-b86c-48d4-b45c-9f5406d63a6c" providerId="ADAL" clId="{9E4800E7-10F6-40F5-9D02-1A116C11FA00}" dt="2020-07-10T18:01:28.234" v="350" actId="12789"/>
          <ac:grpSpMkLst>
            <pc:docMk/>
            <pc:sldMk cId="3665884044" sldId="1871"/>
            <ac:grpSpMk id="8" creationId="{842D8616-FD38-4BD8-9A00-5B0D7580A9E4}"/>
          </ac:grpSpMkLst>
        </pc:grpChg>
        <pc:grpChg chg="mod">
          <ac:chgData name="Hopefirmly Lyngdoh [Chillibreeze]" userId="01a7a686-b86c-48d4-b45c-9f5406d63a6c" providerId="ADAL" clId="{9E4800E7-10F6-40F5-9D02-1A116C11FA00}" dt="2020-07-10T18:01:25.549" v="349" actId="12789"/>
          <ac:grpSpMkLst>
            <pc:docMk/>
            <pc:sldMk cId="3665884044" sldId="1871"/>
            <ac:grpSpMk id="10" creationId="{B43FB183-CF5A-490E-B648-F4040756B9F0}"/>
          </ac:grpSpMkLst>
        </pc:grpChg>
        <pc:grpChg chg="mod">
          <ac:chgData name="Hopefirmly Lyngdoh [Chillibreeze]" userId="01a7a686-b86c-48d4-b45c-9f5406d63a6c" providerId="ADAL" clId="{9E4800E7-10F6-40F5-9D02-1A116C11FA00}" dt="2020-07-10T18:01:23.402" v="348" actId="12789"/>
          <ac:grpSpMkLst>
            <pc:docMk/>
            <pc:sldMk cId="3665884044" sldId="1871"/>
            <ac:grpSpMk id="14" creationId="{512395A5-0730-457F-B163-A3F840B01929}"/>
          </ac:grpSpMkLst>
        </pc:grpChg>
        <pc:grpChg chg="mod">
          <ac:chgData name="Hopefirmly Lyngdoh [Chillibreeze]" userId="01a7a686-b86c-48d4-b45c-9f5406d63a6c" providerId="ADAL" clId="{9E4800E7-10F6-40F5-9D02-1A116C11FA00}" dt="2020-07-10T18:01:19.718" v="347" actId="12789"/>
          <ac:grpSpMkLst>
            <pc:docMk/>
            <pc:sldMk cId="3665884044" sldId="1871"/>
            <ac:grpSpMk id="16" creationId="{036F7C2A-0376-44E0-8A0F-2F60D789C6C4}"/>
          </ac:grpSpMkLst>
        </pc:grpChg>
        <pc:grpChg chg="del mod">
          <ac:chgData name="Hopefirmly Lyngdoh [Chillibreeze]" userId="01a7a686-b86c-48d4-b45c-9f5406d63a6c" providerId="ADAL" clId="{9E4800E7-10F6-40F5-9D02-1A116C11FA00}" dt="2020-07-10T18:01:12.668" v="345" actId="165"/>
          <ac:grpSpMkLst>
            <pc:docMk/>
            <pc:sldMk cId="3665884044" sldId="1871"/>
            <ac:grpSpMk id="18" creationId="{DB9C8C7B-3084-4BD9-9AC7-7F9C61A8D332}"/>
          </ac:grpSpMkLst>
        </pc:grpChg>
        <pc:grpChg chg="mod">
          <ac:chgData name="Hopefirmly Lyngdoh [Chillibreeze]" userId="01a7a686-b86c-48d4-b45c-9f5406d63a6c" providerId="ADAL" clId="{9E4800E7-10F6-40F5-9D02-1A116C11FA00}" dt="2020-07-10T18:00:48.604" v="342" actId="12789"/>
          <ac:grpSpMkLst>
            <pc:docMk/>
            <pc:sldMk cId="3665884044" sldId="1871"/>
            <ac:grpSpMk id="19" creationId="{9CA168F4-556F-497F-B3D6-D0637DB5C2FD}"/>
          </ac:grpSpMkLst>
        </pc:grpChg>
        <pc:grpChg chg="mod">
          <ac:chgData name="Hopefirmly Lyngdoh [Chillibreeze]" userId="01a7a686-b86c-48d4-b45c-9f5406d63a6c" providerId="ADAL" clId="{9E4800E7-10F6-40F5-9D02-1A116C11FA00}" dt="2020-07-10T18:01:30.812" v="351" actId="12789"/>
          <ac:grpSpMkLst>
            <pc:docMk/>
            <pc:sldMk cId="3665884044" sldId="1871"/>
            <ac:grpSpMk id="21" creationId="{31B92DD0-BF3D-4EA3-8D0F-469B48F64D9F}"/>
          </ac:grpSpMkLst>
        </pc:grpChg>
        <pc:picChg chg="mod">
          <ac:chgData name="Hopefirmly Lyngdoh [Chillibreeze]" userId="01a7a686-b86c-48d4-b45c-9f5406d63a6c" providerId="ADAL" clId="{9E4800E7-10F6-40F5-9D02-1A116C11FA00}" dt="2020-07-10T18:01:15.180" v="346" actId="12789"/>
          <ac:picMkLst>
            <pc:docMk/>
            <pc:sldMk cId="3665884044" sldId="1871"/>
            <ac:picMk id="107" creationId="{9219084A-6737-471A-8506-25D80DE3FC23}"/>
          </ac:picMkLst>
        </pc:picChg>
        <pc:picChg chg="mod topLvl">
          <ac:chgData name="Hopefirmly Lyngdoh [Chillibreeze]" userId="01a7a686-b86c-48d4-b45c-9f5406d63a6c" providerId="ADAL" clId="{9E4800E7-10F6-40F5-9D02-1A116C11FA00}" dt="2020-07-10T18:01:12.668" v="345" actId="165"/>
          <ac:picMkLst>
            <pc:docMk/>
            <pc:sldMk cId="3665884044" sldId="1871"/>
            <ac:picMk id="155" creationId="{D4A5FCC1-C008-4609-811F-F53C6738D803}"/>
          </ac:picMkLst>
        </pc:picChg>
      </pc:sldChg>
      <pc:sldChg chg="modSp mod">
        <pc:chgData name="Hopefirmly Lyngdoh [Chillibreeze]" userId="01a7a686-b86c-48d4-b45c-9f5406d63a6c" providerId="ADAL" clId="{9E4800E7-10F6-40F5-9D02-1A116C11FA00}" dt="2020-07-11T07:11:51.174" v="453" actId="20577"/>
        <pc:sldMkLst>
          <pc:docMk/>
          <pc:sldMk cId="2122675882" sldId="1915"/>
        </pc:sldMkLst>
        <pc:spChg chg="mod">
          <ac:chgData name="Hopefirmly Lyngdoh [Chillibreeze]" userId="01a7a686-b86c-48d4-b45c-9f5406d63a6c" providerId="ADAL" clId="{9E4800E7-10F6-40F5-9D02-1A116C11FA00}" dt="2020-07-11T07:11:51.174" v="453" actId="20577"/>
          <ac:spMkLst>
            <pc:docMk/>
            <pc:sldMk cId="2122675882" sldId="1915"/>
            <ac:spMk id="10" creationId="{3C7DD12B-9E6E-4004-8BFF-9FD28375435C}"/>
          </ac:spMkLst>
        </pc:spChg>
      </pc:sldChg>
      <pc:sldChg chg="delSp modSp mod">
        <pc:chgData name="Hopefirmly Lyngdoh [Chillibreeze]" userId="01a7a686-b86c-48d4-b45c-9f5406d63a6c" providerId="ADAL" clId="{9E4800E7-10F6-40F5-9D02-1A116C11FA00}" dt="2020-07-10T17:59:26.222" v="341" actId="179"/>
        <pc:sldMkLst>
          <pc:docMk/>
          <pc:sldMk cId="1801735399" sldId="1917"/>
        </pc:sldMkLst>
        <pc:spChg chg="mod">
          <ac:chgData name="Hopefirmly Lyngdoh [Chillibreeze]" userId="01a7a686-b86c-48d4-b45c-9f5406d63a6c" providerId="ADAL" clId="{9E4800E7-10F6-40F5-9D02-1A116C11FA00}" dt="2020-07-10T17:59:26.222" v="341" actId="179"/>
          <ac:spMkLst>
            <pc:docMk/>
            <pc:sldMk cId="1801735399" sldId="1917"/>
            <ac:spMk id="5" creationId="{5218CEFF-5AE7-4580-BBBA-7F13632FC6AC}"/>
          </ac:spMkLst>
        </pc:spChg>
        <pc:spChg chg="del mod">
          <ac:chgData name="Hopefirmly Lyngdoh [Chillibreeze]" userId="01a7a686-b86c-48d4-b45c-9f5406d63a6c" providerId="ADAL" clId="{9E4800E7-10F6-40F5-9D02-1A116C11FA00}" dt="2020-07-10T17:58:14.964" v="328" actId="478"/>
          <ac:spMkLst>
            <pc:docMk/>
            <pc:sldMk cId="1801735399" sldId="1917"/>
            <ac:spMk id="19" creationId="{B2E026DF-BC43-49E3-A2D4-98D94AE3ED9B}"/>
          </ac:spMkLst>
        </pc:spChg>
        <pc:spChg chg="del mod">
          <ac:chgData name="Hopefirmly Lyngdoh [Chillibreeze]" userId="01a7a686-b86c-48d4-b45c-9f5406d63a6c" providerId="ADAL" clId="{9E4800E7-10F6-40F5-9D02-1A116C11FA00}" dt="2020-07-10T17:58:14.964" v="328" actId="478"/>
          <ac:spMkLst>
            <pc:docMk/>
            <pc:sldMk cId="1801735399" sldId="1917"/>
            <ac:spMk id="21" creationId="{9F6ED548-05AE-431D-B1DD-50C21DE36ACA}"/>
          </ac:spMkLst>
        </pc:spChg>
        <pc:spChg chg="del mod">
          <ac:chgData name="Hopefirmly Lyngdoh [Chillibreeze]" userId="01a7a686-b86c-48d4-b45c-9f5406d63a6c" providerId="ADAL" clId="{9E4800E7-10F6-40F5-9D02-1A116C11FA00}" dt="2020-07-10T17:58:14.964" v="328" actId="478"/>
          <ac:spMkLst>
            <pc:docMk/>
            <pc:sldMk cId="1801735399" sldId="1917"/>
            <ac:spMk id="24" creationId="{CA8C08A1-482A-4CD6-A533-F56EB17AD84D}"/>
          </ac:spMkLst>
        </pc:spChg>
        <pc:spChg chg="del mod">
          <ac:chgData name="Hopefirmly Lyngdoh [Chillibreeze]" userId="01a7a686-b86c-48d4-b45c-9f5406d63a6c" providerId="ADAL" clId="{9E4800E7-10F6-40F5-9D02-1A116C11FA00}" dt="2020-07-10T17:58:14.964" v="328" actId="478"/>
          <ac:spMkLst>
            <pc:docMk/>
            <pc:sldMk cId="1801735399" sldId="1917"/>
            <ac:spMk id="26" creationId="{7298D123-CA99-4FE7-87BA-E40C2C3E3AB4}"/>
          </ac:spMkLst>
        </pc:spChg>
      </pc:sldChg>
      <pc:sldChg chg="modSp mod">
        <pc:chgData name="Hopefirmly Lyngdoh [Chillibreeze]" userId="01a7a686-b86c-48d4-b45c-9f5406d63a6c" providerId="ADAL" clId="{9E4800E7-10F6-40F5-9D02-1A116C11FA00}" dt="2020-07-10T17:51:16.339" v="228" actId="1076"/>
        <pc:sldMkLst>
          <pc:docMk/>
          <pc:sldMk cId="2201763488" sldId="1918"/>
        </pc:sldMkLst>
        <pc:spChg chg="mod">
          <ac:chgData name="Hopefirmly Lyngdoh [Chillibreeze]" userId="01a7a686-b86c-48d4-b45c-9f5406d63a6c" providerId="ADAL" clId="{9E4800E7-10F6-40F5-9D02-1A116C11FA00}" dt="2020-07-10T17:51:16.339" v="228" actId="1076"/>
          <ac:spMkLst>
            <pc:docMk/>
            <pc:sldMk cId="2201763488" sldId="1918"/>
            <ac:spMk id="16" creationId="{95020A70-E47D-4D3C-8175-97312447D9BC}"/>
          </ac:spMkLst>
        </pc:spChg>
        <pc:spChg chg="mod">
          <ac:chgData name="Hopefirmly Lyngdoh [Chillibreeze]" userId="01a7a686-b86c-48d4-b45c-9f5406d63a6c" providerId="ADAL" clId="{9E4800E7-10F6-40F5-9D02-1A116C11FA00}" dt="2020-07-10T17:51:16.339" v="228" actId="1076"/>
          <ac:spMkLst>
            <pc:docMk/>
            <pc:sldMk cId="2201763488" sldId="1918"/>
            <ac:spMk id="17" creationId="{3D980A0E-1E1D-4F8D-AD91-A0BDEBACE379}"/>
          </ac:spMkLst>
        </pc:spChg>
        <pc:spChg chg="mod">
          <ac:chgData name="Hopefirmly Lyngdoh [Chillibreeze]" userId="01a7a686-b86c-48d4-b45c-9f5406d63a6c" providerId="ADAL" clId="{9E4800E7-10F6-40F5-9D02-1A116C11FA00}" dt="2020-07-10T17:51:16.339" v="228" actId="1076"/>
          <ac:spMkLst>
            <pc:docMk/>
            <pc:sldMk cId="2201763488" sldId="1918"/>
            <ac:spMk id="18" creationId="{EC92BF75-46EF-4BA0-8DAE-1B3DB183D96C}"/>
          </ac:spMkLst>
        </pc:spChg>
        <pc:spChg chg="mod">
          <ac:chgData name="Hopefirmly Lyngdoh [Chillibreeze]" userId="01a7a686-b86c-48d4-b45c-9f5406d63a6c" providerId="ADAL" clId="{9E4800E7-10F6-40F5-9D02-1A116C11FA00}" dt="2020-07-10T17:51:13.460" v="227" actId="1076"/>
          <ac:spMkLst>
            <pc:docMk/>
            <pc:sldMk cId="2201763488" sldId="1918"/>
            <ac:spMk id="25" creationId="{7AF55B66-167E-4654-AEEA-9EDCD445EC81}"/>
          </ac:spMkLst>
        </pc:spChg>
        <pc:spChg chg="mod">
          <ac:chgData name="Hopefirmly Lyngdoh [Chillibreeze]" userId="01a7a686-b86c-48d4-b45c-9f5406d63a6c" providerId="ADAL" clId="{9E4800E7-10F6-40F5-9D02-1A116C11FA00}" dt="2020-07-10T17:51:13.460" v="227" actId="1076"/>
          <ac:spMkLst>
            <pc:docMk/>
            <pc:sldMk cId="2201763488" sldId="1918"/>
            <ac:spMk id="26" creationId="{584C81E9-D628-4BF4-862A-35D36CA601F5}"/>
          </ac:spMkLst>
        </pc:spChg>
        <pc:spChg chg="mod">
          <ac:chgData name="Hopefirmly Lyngdoh [Chillibreeze]" userId="01a7a686-b86c-48d4-b45c-9f5406d63a6c" providerId="ADAL" clId="{9E4800E7-10F6-40F5-9D02-1A116C11FA00}" dt="2020-07-10T17:51:13.460" v="227" actId="1076"/>
          <ac:spMkLst>
            <pc:docMk/>
            <pc:sldMk cId="2201763488" sldId="1918"/>
            <ac:spMk id="27" creationId="{A7F2E35F-77F6-4EC5-AEC0-1DFD4A8183C0}"/>
          </ac:spMkLst>
        </pc:spChg>
      </pc:sldChg>
      <pc:sldChg chg="modSp mod">
        <pc:chgData name="Hopefirmly Lyngdoh [Chillibreeze]" userId="01a7a686-b86c-48d4-b45c-9f5406d63a6c" providerId="ADAL" clId="{9E4800E7-10F6-40F5-9D02-1A116C11FA00}" dt="2020-07-11T06:28:02.600" v="404" actId="20577"/>
        <pc:sldMkLst>
          <pc:docMk/>
          <pc:sldMk cId="2543009755" sldId="1938"/>
        </pc:sldMkLst>
        <pc:spChg chg="mod">
          <ac:chgData name="Hopefirmly Lyngdoh [Chillibreeze]" userId="01a7a686-b86c-48d4-b45c-9f5406d63a6c" providerId="ADAL" clId="{9E4800E7-10F6-40F5-9D02-1A116C11FA00}" dt="2020-07-11T06:28:02.600" v="404" actId="20577"/>
          <ac:spMkLst>
            <pc:docMk/>
            <pc:sldMk cId="2543009755" sldId="1938"/>
            <ac:spMk id="2" creationId="{06456474-6022-48BB-A434-CF09068ED1E2}"/>
          </ac:spMkLst>
        </pc:spChg>
      </pc:sldChg>
      <pc:sldChg chg="addSp delSp modSp mod">
        <pc:chgData name="Hopefirmly Lyngdoh [Chillibreeze]" userId="01a7a686-b86c-48d4-b45c-9f5406d63a6c" providerId="ADAL" clId="{9E4800E7-10F6-40F5-9D02-1A116C11FA00}" dt="2020-07-10T17:38:31.570" v="13" actId="21"/>
        <pc:sldMkLst>
          <pc:docMk/>
          <pc:sldMk cId="591348677" sldId="1941"/>
        </pc:sldMkLst>
        <pc:spChg chg="add del mod">
          <ac:chgData name="Hopefirmly Lyngdoh [Chillibreeze]" userId="01a7a686-b86c-48d4-b45c-9f5406d63a6c" providerId="ADAL" clId="{9E4800E7-10F6-40F5-9D02-1A116C11FA00}" dt="2020-07-10T17:36:56.609" v="11" actId="21"/>
          <ac:spMkLst>
            <pc:docMk/>
            <pc:sldMk cId="591348677" sldId="1941"/>
            <ac:spMk id="3" creationId="{7CB964AF-16C0-468B-9096-1AA5E2368D65}"/>
          </ac:spMkLst>
        </pc:spChg>
        <pc:spChg chg="mod">
          <ac:chgData name="Hopefirmly Lyngdoh [Chillibreeze]" userId="01a7a686-b86c-48d4-b45c-9f5406d63a6c" providerId="ADAL" clId="{9E4800E7-10F6-40F5-9D02-1A116C11FA00}" dt="2020-07-10T17:36:53.767" v="9" actId="554"/>
          <ac:spMkLst>
            <pc:docMk/>
            <pc:sldMk cId="591348677" sldId="1941"/>
            <ac:spMk id="4" creationId="{E187DEEA-C89F-4A10-AEF3-2022E07F0393}"/>
          </ac:spMkLst>
        </pc:spChg>
        <pc:spChg chg="add del mod">
          <ac:chgData name="Hopefirmly Lyngdoh [Chillibreeze]" userId="01a7a686-b86c-48d4-b45c-9f5406d63a6c" providerId="ADAL" clId="{9E4800E7-10F6-40F5-9D02-1A116C11FA00}" dt="2020-07-10T17:38:31.570" v="13" actId="21"/>
          <ac:spMkLst>
            <pc:docMk/>
            <pc:sldMk cId="591348677" sldId="1941"/>
            <ac:spMk id="57" creationId="{6AD2D996-DFFE-4CB7-8F8C-E7873689377E}"/>
          </ac:spMkLst>
        </pc:spChg>
        <pc:spChg chg="mod">
          <ac:chgData name="Hopefirmly Lyngdoh [Chillibreeze]" userId="01a7a686-b86c-48d4-b45c-9f5406d63a6c" providerId="ADAL" clId="{9E4800E7-10F6-40F5-9D02-1A116C11FA00}" dt="2020-07-10T17:36:46.803" v="6" actId="1036"/>
          <ac:spMkLst>
            <pc:docMk/>
            <pc:sldMk cId="591348677" sldId="1941"/>
            <ac:spMk id="83" creationId="{EED8DD50-A7B2-4D56-8ACF-E6958B950E34}"/>
          </ac:spMkLst>
        </pc:spChg>
        <pc:spChg chg="mod">
          <ac:chgData name="Hopefirmly Lyngdoh [Chillibreeze]" userId="01a7a686-b86c-48d4-b45c-9f5406d63a6c" providerId="ADAL" clId="{9E4800E7-10F6-40F5-9D02-1A116C11FA00}" dt="2020-07-10T17:36:46.803" v="6" actId="1036"/>
          <ac:spMkLst>
            <pc:docMk/>
            <pc:sldMk cId="591348677" sldId="1941"/>
            <ac:spMk id="84" creationId="{1F9F2EE6-3C1C-41C6-95A7-DD2E559B9BBE}"/>
          </ac:spMkLst>
        </pc:spChg>
        <pc:spChg chg="mod">
          <ac:chgData name="Hopefirmly Lyngdoh [Chillibreeze]" userId="01a7a686-b86c-48d4-b45c-9f5406d63a6c" providerId="ADAL" clId="{9E4800E7-10F6-40F5-9D02-1A116C11FA00}" dt="2020-07-10T17:36:46.803" v="6" actId="1036"/>
          <ac:spMkLst>
            <pc:docMk/>
            <pc:sldMk cId="591348677" sldId="1941"/>
            <ac:spMk id="85" creationId="{584688BE-9D4A-4E29-B847-079D1398984C}"/>
          </ac:spMkLst>
        </pc:spChg>
        <pc:spChg chg="mod">
          <ac:chgData name="Hopefirmly Lyngdoh [Chillibreeze]" userId="01a7a686-b86c-48d4-b45c-9f5406d63a6c" providerId="ADAL" clId="{9E4800E7-10F6-40F5-9D02-1A116C11FA00}" dt="2020-07-10T17:36:46.803" v="6" actId="1036"/>
          <ac:spMkLst>
            <pc:docMk/>
            <pc:sldMk cId="591348677" sldId="1941"/>
            <ac:spMk id="86" creationId="{B35C9F93-AB04-4D20-B8D4-7AADE814D3AB}"/>
          </ac:spMkLst>
        </pc:spChg>
        <pc:spChg chg="mod">
          <ac:chgData name="Hopefirmly Lyngdoh [Chillibreeze]" userId="01a7a686-b86c-48d4-b45c-9f5406d63a6c" providerId="ADAL" clId="{9E4800E7-10F6-40F5-9D02-1A116C11FA00}" dt="2020-07-10T17:36:46.803" v="6" actId="1036"/>
          <ac:spMkLst>
            <pc:docMk/>
            <pc:sldMk cId="591348677" sldId="1941"/>
            <ac:spMk id="87" creationId="{2CB7788C-0DD9-4621-9019-B3909CAA23D1}"/>
          </ac:spMkLst>
        </pc:spChg>
        <pc:spChg chg="mod">
          <ac:chgData name="Hopefirmly Lyngdoh [Chillibreeze]" userId="01a7a686-b86c-48d4-b45c-9f5406d63a6c" providerId="ADAL" clId="{9E4800E7-10F6-40F5-9D02-1A116C11FA00}" dt="2020-07-10T17:36:46.803" v="6" actId="1036"/>
          <ac:spMkLst>
            <pc:docMk/>
            <pc:sldMk cId="591348677" sldId="1941"/>
            <ac:spMk id="88" creationId="{3A12A346-34C2-410C-ABCD-798F03C3D29C}"/>
          </ac:spMkLst>
        </pc:spChg>
        <pc:spChg chg="mod">
          <ac:chgData name="Hopefirmly Lyngdoh [Chillibreeze]" userId="01a7a686-b86c-48d4-b45c-9f5406d63a6c" providerId="ADAL" clId="{9E4800E7-10F6-40F5-9D02-1A116C11FA00}" dt="2020-07-10T17:36:46.803" v="6" actId="1036"/>
          <ac:spMkLst>
            <pc:docMk/>
            <pc:sldMk cId="591348677" sldId="1941"/>
            <ac:spMk id="89" creationId="{1F97469C-5F05-4C39-989C-40D1985153CF}"/>
          </ac:spMkLst>
        </pc:spChg>
        <pc:grpChg chg="mod">
          <ac:chgData name="Hopefirmly Lyngdoh [Chillibreeze]" userId="01a7a686-b86c-48d4-b45c-9f5406d63a6c" providerId="ADAL" clId="{9E4800E7-10F6-40F5-9D02-1A116C11FA00}" dt="2020-07-10T17:36:46.803" v="6" actId="1036"/>
          <ac:grpSpMkLst>
            <pc:docMk/>
            <pc:sldMk cId="591348677" sldId="1941"/>
            <ac:grpSpMk id="5" creationId="{823A9B59-A20F-4394-B825-B6A3B0A960A6}"/>
          </ac:grpSpMkLst>
        </pc:grpChg>
        <pc:grpChg chg="mod">
          <ac:chgData name="Hopefirmly Lyngdoh [Chillibreeze]" userId="01a7a686-b86c-48d4-b45c-9f5406d63a6c" providerId="ADAL" clId="{9E4800E7-10F6-40F5-9D02-1A116C11FA00}" dt="2020-07-10T17:36:46.803" v="6" actId="1036"/>
          <ac:grpSpMkLst>
            <pc:docMk/>
            <pc:sldMk cId="591348677" sldId="1941"/>
            <ac:grpSpMk id="6" creationId="{054CD304-16F2-4EAF-BF99-B79FD16A77D1}"/>
          </ac:grpSpMkLst>
        </pc:grpChg>
        <pc:grpChg chg="mod">
          <ac:chgData name="Hopefirmly Lyngdoh [Chillibreeze]" userId="01a7a686-b86c-48d4-b45c-9f5406d63a6c" providerId="ADAL" clId="{9E4800E7-10F6-40F5-9D02-1A116C11FA00}" dt="2020-07-10T17:36:46.803" v="6" actId="1036"/>
          <ac:grpSpMkLst>
            <pc:docMk/>
            <pc:sldMk cId="591348677" sldId="1941"/>
            <ac:grpSpMk id="43" creationId="{56065B94-9F47-430C-9F3D-8D95861A87FF}"/>
          </ac:grpSpMkLst>
        </pc:grpChg>
        <pc:grpChg chg="mod">
          <ac:chgData name="Hopefirmly Lyngdoh [Chillibreeze]" userId="01a7a686-b86c-48d4-b45c-9f5406d63a6c" providerId="ADAL" clId="{9E4800E7-10F6-40F5-9D02-1A116C11FA00}" dt="2020-07-10T17:36:46.803" v="6" actId="1036"/>
          <ac:grpSpMkLst>
            <pc:docMk/>
            <pc:sldMk cId="591348677" sldId="1941"/>
            <ac:grpSpMk id="64" creationId="{E260EF49-ACB4-475C-AE90-F58C947A3416}"/>
          </ac:grpSpMkLst>
        </pc:grpChg>
        <pc:grpChg chg="mod">
          <ac:chgData name="Hopefirmly Lyngdoh [Chillibreeze]" userId="01a7a686-b86c-48d4-b45c-9f5406d63a6c" providerId="ADAL" clId="{9E4800E7-10F6-40F5-9D02-1A116C11FA00}" dt="2020-07-10T17:36:46.803" v="6" actId="1036"/>
          <ac:grpSpMkLst>
            <pc:docMk/>
            <pc:sldMk cId="591348677" sldId="1941"/>
            <ac:grpSpMk id="73" creationId="{06CEEFC9-2315-4A1C-8A1C-AC4C78762F07}"/>
          </ac:grpSpMkLst>
        </pc:grpChg>
        <pc:grpChg chg="mod">
          <ac:chgData name="Hopefirmly Lyngdoh [Chillibreeze]" userId="01a7a686-b86c-48d4-b45c-9f5406d63a6c" providerId="ADAL" clId="{9E4800E7-10F6-40F5-9D02-1A116C11FA00}" dt="2020-07-10T17:36:46.803" v="6" actId="1036"/>
          <ac:grpSpMkLst>
            <pc:docMk/>
            <pc:sldMk cId="591348677" sldId="1941"/>
            <ac:grpSpMk id="75" creationId="{F1EFF4D0-E7FC-4436-8BE3-33D25B8D76E1}"/>
          </ac:grpSpMkLst>
        </pc:grpChg>
        <pc:grpChg chg="mod">
          <ac:chgData name="Hopefirmly Lyngdoh [Chillibreeze]" userId="01a7a686-b86c-48d4-b45c-9f5406d63a6c" providerId="ADAL" clId="{9E4800E7-10F6-40F5-9D02-1A116C11FA00}" dt="2020-07-10T17:36:46.803" v="6" actId="1036"/>
          <ac:grpSpMkLst>
            <pc:docMk/>
            <pc:sldMk cId="591348677" sldId="1941"/>
            <ac:grpSpMk id="90" creationId="{5AE2B61F-2CCA-41CB-B74F-D3F164D8C7EF}"/>
          </ac:grpSpMkLst>
        </pc:grpChg>
      </pc:sldChg>
      <pc:sldChg chg="addSp delSp modSp mod">
        <pc:chgData name="Hopefirmly Lyngdoh [Chillibreeze]" userId="01a7a686-b86c-48d4-b45c-9f5406d63a6c" providerId="ADAL" clId="{9E4800E7-10F6-40F5-9D02-1A116C11FA00}" dt="2020-07-11T06:29:28.428" v="405" actId="255"/>
        <pc:sldMkLst>
          <pc:docMk/>
          <pc:sldMk cId="1309834942" sldId="1943"/>
        </pc:sldMkLst>
        <pc:spChg chg="mod">
          <ac:chgData name="Hopefirmly Lyngdoh [Chillibreeze]" userId="01a7a686-b86c-48d4-b45c-9f5406d63a6c" providerId="ADAL" clId="{9E4800E7-10F6-40F5-9D02-1A116C11FA00}" dt="2020-07-11T06:29:28.428" v="405" actId="255"/>
          <ac:spMkLst>
            <pc:docMk/>
            <pc:sldMk cId="1309834942" sldId="1943"/>
            <ac:spMk id="9" creationId="{1AB8FABD-80F9-4396-BE4F-97FA84A5C605}"/>
          </ac:spMkLst>
        </pc:spChg>
        <pc:spChg chg="mod">
          <ac:chgData name="Hopefirmly Lyngdoh [Chillibreeze]" userId="01a7a686-b86c-48d4-b45c-9f5406d63a6c" providerId="ADAL" clId="{9E4800E7-10F6-40F5-9D02-1A116C11FA00}" dt="2020-07-10T17:48:19.094" v="208" actId="554"/>
          <ac:spMkLst>
            <pc:docMk/>
            <pc:sldMk cId="1309834942" sldId="1943"/>
            <ac:spMk id="15" creationId="{60BC454C-1CED-40FA-B429-5E2DBB126F2D}"/>
          </ac:spMkLst>
        </pc:spChg>
        <pc:spChg chg="add del mod">
          <ac:chgData name="Hopefirmly Lyngdoh [Chillibreeze]" userId="01a7a686-b86c-48d4-b45c-9f5406d63a6c" providerId="ADAL" clId="{9E4800E7-10F6-40F5-9D02-1A116C11FA00}" dt="2020-07-10T17:38:38.988" v="18" actId="21"/>
          <ac:spMkLst>
            <pc:docMk/>
            <pc:sldMk cId="1309834942" sldId="1943"/>
            <ac:spMk id="16" creationId="{C8D1F5D3-FFA1-43B7-A5B2-3D1C790A18D8}"/>
          </ac:spMkLst>
        </pc:spChg>
        <pc:spChg chg="add del mod">
          <ac:chgData name="Hopefirmly Lyngdoh [Chillibreeze]" userId="01a7a686-b86c-48d4-b45c-9f5406d63a6c" providerId="ADAL" clId="{9E4800E7-10F6-40F5-9D02-1A116C11FA00}" dt="2020-07-10T17:48:20.600" v="209" actId="21"/>
          <ac:spMkLst>
            <pc:docMk/>
            <pc:sldMk cId="1309834942" sldId="1943"/>
            <ac:spMk id="17" creationId="{2D149C27-51BD-4571-BA31-F8C8D0D273A7}"/>
          </ac:spMkLst>
        </pc:spChg>
      </pc:sldChg>
      <pc:sldChg chg="modSp mod">
        <pc:chgData name="Hopefirmly Lyngdoh [Chillibreeze]" userId="01a7a686-b86c-48d4-b45c-9f5406d63a6c" providerId="ADAL" clId="{9E4800E7-10F6-40F5-9D02-1A116C11FA00}" dt="2020-07-10T17:39:24.233" v="20" actId="20577"/>
        <pc:sldMkLst>
          <pc:docMk/>
          <pc:sldMk cId="1091227316" sldId="1944"/>
        </pc:sldMkLst>
        <pc:spChg chg="mod">
          <ac:chgData name="Hopefirmly Lyngdoh [Chillibreeze]" userId="01a7a686-b86c-48d4-b45c-9f5406d63a6c" providerId="ADAL" clId="{9E4800E7-10F6-40F5-9D02-1A116C11FA00}" dt="2020-07-10T17:39:24.233" v="20" actId="20577"/>
          <ac:spMkLst>
            <pc:docMk/>
            <pc:sldMk cId="1091227316" sldId="1944"/>
            <ac:spMk id="8" creationId="{7544243E-8E7B-4622-BB53-A2C02B6F26C0}"/>
          </ac:spMkLst>
        </pc:spChg>
      </pc:sldChg>
      <pc:sldChg chg="modSp mod">
        <pc:chgData name="Hopefirmly Lyngdoh [Chillibreeze]" userId="01a7a686-b86c-48d4-b45c-9f5406d63a6c" providerId="ADAL" clId="{9E4800E7-10F6-40F5-9D02-1A116C11FA00}" dt="2020-07-10T17:40:11.827" v="26" actId="255"/>
        <pc:sldMkLst>
          <pc:docMk/>
          <pc:sldMk cId="3389964135" sldId="1945"/>
        </pc:sldMkLst>
        <pc:spChg chg="mod">
          <ac:chgData name="Hopefirmly Lyngdoh [Chillibreeze]" userId="01a7a686-b86c-48d4-b45c-9f5406d63a6c" providerId="ADAL" clId="{9E4800E7-10F6-40F5-9D02-1A116C11FA00}" dt="2020-07-10T17:40:11.827" v="26" actId="255"/>
          <ac:spMkLst>
            <pc:docMk/>
            <pc:sldMk cId="3389964135" sldId="1945"/>
            <ac:spMk id="38" creationId="{8B2B666E-5AC6-43F4-941C-D4B9053E9EAC}"/>
          </ac:spMkLst>
        </pc:spChg>
        <pc:spChg chg="mod">
          <ac:chgData name="Hopefirmly Lyngdoh [Chillibreeze]" userId="01a7a686-b86c-48d4-b45c-9f5406d63a6c" providerId="ADAL" clId="{9E4800E7-10F6-40F5-9D02-1A116C11FA00}" dt="2020-07-10T17:40:11.827" v="26" actId="255"/>
          <ac:spMkLst>
            <pc:docMk/>
            <pc:sldMk cId="3389964135" sldId="1945"/>
            <ac:spMk id="39" creationId="{01EEEE1F-7E86-462B-AFC3-733FED924611}"/>
          </ac:spMkLst>
        </pc:spChg>
      </pc:sldChg>
      <pc:sldChg chg="modSp mod chgLayout">
        <pc:chgData name="Hopefirmly Lyngdoh [Chillibreeze]" userId="01a7a686-b86c-48d4-b45c-9f5406d63a6c" providerId="ADAL" clId="{9E4800E7-10F6-40F5-9D02-1A116C11FA00}" dt="2020-07-10T17:41:11.927" v="32" actId="403"/>
        <pc:sldMkLst>
          <pc:docMk/>
          <pc:sldMk cId="2496113293" sldId="1946"/>
        </pc:sldMkLst>
        <pc:spChg chg="mod ord">
          <ac:chgData name="Hopefirmly Lyngdoh [Chillibreeze]" userId="01a7a686-b86c-48d4-b45c-9f5406d63a6c" providerId="ADAL" clId="{9E4800E7-10F6-40F5-9D02-1A116C11FA00}" dt="2020-07-10T17:41:04.180" v="31" actId="700"/>
          <ac:spMkLst>
            <pc:docMk/>
            <pc:sldMk cId="2496113293" sldId="1946"/>
            <ac:spMk id="2" creationId="{5BE5EEA6-3E21-4270-979A-908224F71B11}"/>
          </ac:spMkLst>
        </pc:spChg>
        <pc:spChg chg="mod">
          <ac:chgData name="Hopefirmly Lyngdoh [Chillibreeze]" userId="01a7a686-b86c-48d4-b45c-9f5406d63a6c" providerId="ADAL" clId="{9E4800E7-10F6-40F5-9D02-1A116C11FA00}" dt="2020-07-10T17:41:11.927" v="32" actId="403"/>
          <ac:spMkLst>
            <pc:docMk/>
            <pc:sldMk cId="2496113293" sldId="1946"/>
            <ac:spMk id="3" creationId="{DF303757-AE7D-45FF-97BC-3499A68152E2}"/>
          </ac:spMkLst>
        </pc:spChg>
        <pc:spChg chg="mod">
          <ac:chgData name="Hopefirmly Lyngdoh [Chillibreeze]" userId="01a7a686-b86c-48d4-b45c-9f5406d63a6c" providerId="ADAL" clId="{9E4800E7-10F6-40F5-9D02-1A116C11FA00}" dt="2020-07-10T17:41:11.927" v="32" actId="403"/>
          <ac:spMkLst>
            <pc:docMk/>
            <pc:sldMk cId="2496113293" sldId="1946"/>
            <ac:spMk id="5" creationId="{6A65032E-C239-46AC-804F-8326EE47CF22}"/>
          </ac:spMkLst>
        </pc:spChg>
      </pc:sldChg>
      <pc:sldChg chg="addSp delSp modSp mod">
        <pc:chgData name="Hopefirmly Lyngdoh [Chillibreeze]" userId="01a7a686-b86c-48d4-b45c-9f5406d63a6c" providerId="ADAL" clId="{9E4800E7-10F6-40F5-9D02-1A116C11FA00}" dt="2020-07-10T17:41:27.172" v="37" actId="21"/>
        <pc:sldMkLst>
          <pc:docMk/>
          <pc:sldMk cId="397689141" sldId="1947"/>
        </pc:sldMkLst>
        <pc:spChg chg="mod">
          <ac:chgData name="Hopefirmly Lyngdoh [Chillibreeze]" userId="01a7a686-b86c-48d4-b45c-9f5406d63a6c" providerId="ADAL" clId="{9E4800E7-10F6-40F5-9D02-1A116C11FA00}" dt="2020-07-10T17:41:26.183" v="36" actId="554"/>
          <ac:spMkLst>
            <pc:docMk/>
            <pc:sldMk cId="397689141" sldId="1947"/>
            <ac:spMk id="4" creationId="{FD483274-C30B-45CD-B638-369AC843DEF0}"/>
          </ac:spMkLst>
        </pc:spChg>
        <pc:spChg chg="add del mod">
          <ac:chgData name="Hopefirmly Lyngdoh [Chillibreeze]" userId="01a7a686-b86c-48d4-b45c-9f5406d63a6c" providerId="ADAL" clId="{9E4800E7-10F6-40F5-9D02-1A116C11FA00}" dt="2020-07-10T17:41:27.172" v="37" actId="21"/>
          <ac:spMkLst>
            <pc:docMk/>
            <pc:sldMk cId="397689141" sldId="1947"/>
            <ac:spMk id="6" creationId="{38B13544-5D5C-4988-9A85-B4E93A43F5D9}"/>
          </ac:spMkLst>
        </pc:spChg>
      </pc:sldChg>
      <pc:sldChg chg="modSp mod">
        <pc:chgData name="Hopefirmly Lyngdoh [Chillibreeze]" userId="01a7a686-b86c-48d4-b45c-9f5406d63a6c" providerId="ADAL" clId="{9E4800E7-10F6-40F5-9D02-1A116C11FA00}" dt="2020-07-10T17:42:15.821" v="41" actId="179"/>
        <pc:sldMkLst>
          <pc:docMk/>
          <pc:sldMk cId="2103919476" sldId="1948"/>
        </pc:sldMkLst>
        <pc:spChg chg="mod">
          <ac:chgData name="Hopefirmly Lyngdoh [Chillibreeze]" userId="01a7a686-b86c-48d4-b45c-9f5406d63a6c" providerId="ADAL" clId="{9E4800E7-10F6-40F5-9D02-1A116C11FA00}" dt="2020-07-10T17:42:15.821" v="41" actId="179"/>
          <ac:spMkLst>
            <pc:docMk/>
            <pc:sldMk cId="2103919476" sldId="1948"/>
            <ac:spMk id="4" creationId="{A350C712-DF90-48D7-AF99-33CA7708B8E6}"/>
          </ac:spMkLst>
        </pc:spChg>
      </pc:sldChg>
      <pc:sldChg chg="modSp mod">
        <pc:chgData name="Hopefirmly Lyngdoh [Chillibreeze]" userId="01a7a686-b86c-48d4-b45c-9f5406d63a6c" providerId="ADAL" clId="{9E4800E7-10F6-40F5-9D02-1A116C11FA00}" dt="2020-07-11T07:09:02.600" v="409" actId="2711"/>
        <pc:sldMkLst>
          <pc:docMk/>
          <pc:sldMk cId="2334485022" sldId="1950"/>
        </pc:sldMkLst>
        <pc:spChg chg="mod">
          <ac:chgData name="Hopefirmly Lyngdoh [Chillibreeze]" userId="01a7a686-b86c-48d4-b45c-9f5406d63a6c" providerId="ADAL" clId="{9E4800E7-10F6-40F5-9D02-1A116C11FA00}" dt="2020-07-11T07:09:02.600" v="409" actId="2711"/>
          <ac:spMkLst>
            <pc:docMk/>
            <pc:sldMk cId="2334485022" sldId="1950"/>
            <ac:spMk id="66" creationId="{AD3F0406-9A7B-4F25-8A95-D14D93FCE9ED}"/>
          </ac:spMkLst>
        </pc:spChg>
        <pc:grpChg chg="mod">
          <ac:chgData name="Hopefirmly Lyngdoh [Chillibreeze]" userId="01a7a686-b86c-48d4-b45c-9f5406d63a6c" providerId="ADAL" clId="{9E4800E7-10F6-40F5-9D02-1A116C11FA00}" dt="2020-07-10T17:42:57.224" v="47" actId="1036"/>
          <ac:grpSpMkLst>
            <pc:docMk/>
            <pc:sldMk cId="2334485022" sldId="1950"/>
            <ac:grpSpMk id="67" creationId="{49E328EC-09EF-48BF-947A-5B0F4DDE5D16}"/>
          </ac:grpSpMkLst>
        </pc:grpChg>
        <pc:cxnChg chg="mod">
          <ac:chgData name="Hopefirmly Lyngdoh [Chillibreeze]" userId="01a7a686-b86c-48d4-b45c-9f5406d63a6c" providerId="ADAL" clId="{9E4800E7-10F6-40F5-9D02-1A116C11FA00}" dt="2020-07-10T17:42:39.174" v="42" actId="1076"/>
          <ac:cxnSpMkLst>
            <pc:docMk/>
            <pc:sldMk cId="2334485022" sldId="1950"/>
            <ac:cxnSpMk id="39" creationId="{EEF31729-A47D-4460-B5FF-28C9E0DE0B6D}"/>
          </ac:cxnSpMkLst>
        </pc:cxnChg>
      </pc:sldChg>
      <pc:sldChg chg="modSp mod">
        <pc:chgData name="Hopefirmly Lyngdoh [Chillibreeze]" userId="01a7a686-b86c-48d4-b45c-9f5406d63a6c" providerId="ADAL" clId="{9E4800E7-10F6-40F5-9D02-1A116C11FA00}" dt="2020-07-11T07:09:25.096" v="425" actId="299"/>
        <pc:sldMkLst>
          <pc:docMk/>
          <pc:sldMk cId="59849674" sldId="1951"/>
        </pc:sldMkLst>
        <pc:spChg chg="mod">
          <ac:chgData name="Hopefirmly Lyngdoh [Chillibreeze]" userId="01a7a686-b86c-48d4-b45c-9f5406d63a6c" providerId="ADAL" clId="{9E4800E7-10F6-40F5-9D02-1A116C11FA00}" dt="2020-07-11T07:09:25.096" v="425" actId="299"/>
          <ac:spMkLst>
            <pc:docMk/>
            <pc:sldMk cId="59849674" sldId="1951"/>
            <ac:spMk id="6" creationId="{D03A2220-2B41-4369-90C1-31A9D4569E14}"/>
          </ac:spMkLst>
        </pc:spChg>
      </pc:sldChg>
      <pc:sldChg chg="modSp mod">
        <pc:chgData name="Hopefirmly Lyngdoh [Chillibreeze]" userId="01a7a686-b86c-48d4-b45c-9f5406d63a6c" providerId="ADAL" clId="{9E4800E7-10F6-40F5-9D02-1A116C11FA00}" dt="2020-07-11T07:09:57.374" v="430" actId="1582"/>
        <pc:sldMkLst>
          <pc:docMk/>
          <pc:sldMk cId="3981396567" sldId="1952"/>
        </pc:sldMkLst>
        <pc:spChg chg="mod">
          <ac:chgData name="Hopefirmly Lyngdoh [Chillibreeze]" userId="01a7a686-b86c-48d4-b45c-9f5406d63a6c" providerId="ADAL" clId="{9E4800E7-10F6-40F5-9D02-1A116C11FA00}" dt="2020-07-10T17:45:16.645" v="114" actId="255"/>
          <ac:spMkLst>
            <pc:docMk/>
            <pc:sldMk cId="3981396567" sldId="1952"/>
            <ac:spMk id="4" creationId="{A234402E-FD7C-4242-85EA-6ACAE732E2FD}"/>
          </ac:spMkLst>
        </pc:spChg>
        <pc:spChg chg="mod">
          <ac:chgData name="Hopefirmly Lyngdoh [Chillibreeze]" userId="01a7a686-b86c-48d4-b45c-9f5406d63a6c" providerId="ADAL" clId="{9E4800E7-10F6-40F5-9D02-1A116C11FA00}" dt="2020-07-10T17:45:16.645" v="114" actId="255"/>
          <ac:spMkLst>
            <pc:docMk/>
            <pc:sldMk cId="3981396567" sldId="1952"/>
            <ac:spMk id="5" creationId="{E5F7B95A-E382-451C-9D99-7C949FF25D44}"/>
          </ac:spMkLst>
        </pc:spChg>
        <pc:spChg chg="mod">
          <ac:chgData name="Hopefirmly Lyngdoh [Chillibreeze]" userId="01a7a686-b86c-48d4-b45c-9f5406d63a6c" providerId="ADAL" clId="{9E4800E7-10F6-40F5-9D02-1A116C11FA00}" dt="2020-07-10T17:45:16.645" v="114" actId="255"/>
          <ac:spMkLst>
            <pc:docMk/>
            <pc:sldMk cId="3981396567" sldId="1952"/>
            <ac:spMk id="6" creationId="{3C5F2AF5-E8F7-45BC-BF9D-59CA72BCEEED}"/>
          </ac:spMkLst>
        </pc:spChg>
        <pc:spChg chg="mod">
          <ac:chgData name="Hopefirmly Lyngdoh [Chillibreeze]" userId="01a7a686-b86c-48d4-b45c-9f5406d63a6c" providerId="ADAL" clId="{9E4800E7-10F6-40F5-9D02-1A116C11FA00}" dt="2020-07-10T17:45:16.645" v="114" actId="255"/>
          <ac:spMkLst>
            <pc:docMk/>
            <pc:sldMk cId="3981396567" sldId="1952"/>
            <ac:spMk id="7" creationId="{65DC0EC4-A80B-4D6F-8CAA-1A5F3AC8C3E5}"/>
          </ac:spMkLst>
        </pc:spChg>
        <pc:spChg chg="mod">
          <ac:chgData name="Hopefirmly Lyngdoh [Chillibreeze]" userId="01a7a686-b86c-48d4-b45c-9f5406d63a6c" providerId="ADAL" clId="{9E4800E7-10F6-40F5-9D02-1A116C11FA00}" dt="2020-07-10T17:45:16.645" v="114" actId="255"/>
          <ac:spMkLst>
            <pc:docMk/>
            <pc:sldMk cId="3981396567" sldId="1952"/>
            <ac:spMk id="8" creationId="{EFB2E42B-54CC-421B-93D2-35157FE21B23}"/>
          </ac:spMkLst>
        </pc:spChg>
        <pc:spChg chg="mod">
          <ac:chgData name="Hopefirmly Lyngdoh [Chillibreeze]" userId="01a7a686-b86c-48d4-b45c-9f5406d63a6c" providerId="ADAL" clId="{9E4800E7-10F6-40F5-9D02-1A116C11FA00}" dt="2020-07-11T07:09:51.809" v="427" actId="1582"/>
          <ac:spMkLst>
            <pc:docMk/>
            <pc:sldMk cId="3981396567" sldId="1952"/>
            <ac:spMk id="13" creationId="{4493060A-B2BC-43A7-B427-8A149854C39C}"/>
          </ac:spMkLst>
        </pc:spChg>
        <pc:spChg chg="mod">
          <ac:chgData name="Hopefirmly Lyngdoh [Chillibreeze]" userId="01a7a686-b86c-48d4-b45c-9f5406d63a6c" providerId="ADAL" clId="{9E4800E7-10F6-40F5-9D02-1A116C11FA00}" dt="2020-07-11T07:09:49.609" v="426" actId="1582"/>
          <ac:spMkLst>
            <pc:docMk/>
            <pc:sldMk cId="3981396567" sldId="1952"/>
            <ac:spMk id="18" creationId="{0A7FBEFC-5CE4-4BA7-B5BA-97F8AF101568}"/>
          </ac:spMkLst>
        </pc:spChg>
        <pc:spChg chg="mod">
          <ac:chgData name="Hopefirmly Lyngdoh [Chillibreeze]" userId="01a7a686-b86c-48d4-b45c-9f5406d63a6c" providerId="ADAL" clId="{9E4800E7-10F6-40F5-9D02-1A116C11FA00}" dt="2020-07-11T07:09:55.613" v="429" actId="1582"/>
          <ac:spMkLst>
            <pc:docMk/>
            <pc:sldMk cId="3981396567" sldId="1952"/>
            <ac:spMk id="23" creationId="{FAC025B3-79E3-450B-A5C7-6E055F5E1D4D}"/>
          </ac:spMkLst>
        </pc:spChg>
        <pc:spChg chg="mod">
          <ac:chgData name="Hopefirmly Lyngdoh [Chillibreeze]" userId="01a7a686-b86c-48d4-b45c-9f5406d63a6c" providerId="ADAL" clId="{9E4800E7-10F6-40F5-9D02-1A116C11FA00}" dt="2020-07-11T07:09:53.696" v="428" actId="1582"/>
          <ac:spMkLst>
            <pc:docMk/>
            <pc:sldMk cId="3981396567" sldId="1952"/>
            <ac:spMk id="28" creationId="{69C79433-D1FA-44AD-9A4E-C6562C51AE19}"/>
          </ac:spMkLst>
        </pc:spChg>
        <pc:spChg chg="mod">
          <ac:chgData name="Hopefirmly Lyngdoh [Chillibreeze]" userId="01a7a686-b86c-48d4-b45c-9f5406d63a6c" providerId="ADAL" clId="{9E4800E7-10F6-40F5-9D02-1A116C11FA00}" dt="2020-07-11T07:09:57.374" v="430" actId="1582"/>
          <ac:spMkLst>
            <pc:docMk/>
            <pc:sldMk cId="3981396567" sldId="1952"/>
            <ac:spMk id="33" creationId="{1CC52223-30CF-49F7-A5B5-5F92ABF5F29F}"/>
          </ac:spMkLst>
        </pc:spChg>
        <pc:grpChg chg="mod">
          <ac:chgData name="Hopefirmly Lyngdoh [Chillibreeze]" userId="01a7a686-b86c-48d4-b45c-9f5406d63a6c" providerId="ADAL" clId="{9E4800E7-10F6-40F5-9D02-1A116C11FA00}" dt="2020-07-10T17:44:44.278" v="104" actId="465"/>
          <ac:grpSpMkLst>
            <pc:docMk/>
            <pc:sldMk cId="3981396567" sldId="1952"/>
            <ac:grpSpMk id="14" creationId="{D87375C2-6490-4BC5-B0CD-1243A84B9A74}"/>
          </ac:grpSpMkLst>
        </pc:grpChg>
        <pc:grpChg chg="mod">
          <ac:chgData name="Hopefirmly Lyngdoh [Chillibreeze]" userId="01a7a686-b86c-48d4-b45c-9f5406d63a6c" providerId="ADAL" clId="{9E4800E7-10F6-40F5-9D02-1A116C11FA00}" dt="2020-07-10T17:45:00.936" v="110" actId="12789"/>
          <ac:grpSpMkLst>
            <pc:docMk/>
            <pc:sldMk cId="3981396567" sldId="1952"/>
            <ac:grpSpMk id="16" creationId="{35FE73A8-AAC1-40CA-927F-93D3FF09CE41}"/>
          </ac:grpSpMkLst>
        </pc:grpChg>
        <pc:grpChg chg="mod">
          <ac:chgData name="Hopefirmly Lyngdoh [Chillibreeze]" userId="01a7a686-b86c-48d4-b45c-9f5406d63a6c" providerId="ADAL" clId="{9E4800E7-10F6-40F5-9D02-1A116C11FA00}" dt="2020-07-10T17:44:56.141" v="107" actId="12789"/>
          <ac:grpSpMkLst>
            <pc:docMk/>
            <pc:sldMk cId="3981396567" sldId="1952"/>
            <ac:grpSpMk id="19" creationId="{56536D4E-F5B8-42ED-ABD1-D1854A446808}"/>
          </ac:grpSpMkLst>
        </pc:grpChg>
        <pc:grpChg chg="mod">
          <ac:chgData name="Hopefirmly Lyngdoh [Chillibreeze]" userId="01a7a686-b86c-48d4-b45c-9f5406d63a6c" providerId="ADAL" clId="{9E4800E7-10F6-40F5-9D02-1A116C11FA00}" dt="2020-07-10T17:44:53.789" v="106" actId="12789"/>
          <ac:grpSpMkLst>
            <pc:docMk/>
            <pc:sldMk cId="3981396567" sldId="1952"/>
            <ac:grpSpMk id="21" creationId="{AEA1FC73-4E8B-431B-B2EB-1ED77C35841C}"/>
          </ac:grpSpMkLst>
        </pc:grpChg>
        <pc:grpChg chg="mod">
          <ac:chgData name="Hopefirmly Lyngdoh [Chillibreeze]" userId="01a7a686-b86c-48d4-b45c-9f5406d63a6c" providerId="ADAL" clId="{9E4800E7-10F6-40F5-9D02-1A116C11FA00}" dt="2020-07-10T17:44:52.013" v="105" actId="12789"/>
          <ac:grpSpMkLst>
            <pc:docMk/>
            <pc:sldMk cId="3981396567" sldId="1952"/>
            <ac:grpSpMk id="45" creationId="{C057EA8A-2831-4DF7-BF12-F59F866119BA}"/>
          </ac:grpSpMkLst>
        </pc:grpChg>
      </pc:sldChg>
      <pc:sldChg chg="addSp modSp mod">
        <pc:chgData name="Hopefirmly Lyngdoh [Chillibreeze]" userId="01a7a686-b86c-48d4-b45c-9f5406d63a6c" providerId="ADAL" clId="{9E4800E7-10F6-40F5-9D02-1A116C11FA00}" dt="2020-07-10T17:45:43.797" v="126" actId="12789"/>
        <pc:sldMkLst>
          <pc:docMk/>
          <pc:sldMk cId="171335779" sldId="1953"/>
        </pc:sldMkLst>
        <pc:spChg chg="add mod">
          <ac:chgData name="Hopefirmly Lyngdoh [Chillibreeze]" userId="01a7a686-b86c-48d4-b45c-9f5406d63a6c" providerId="ADAL" clId="{9E4800E7-10F6-40F5-9D02-1A116C11FA00}" dt="2020-07-10T17:45:43.797" v="126" actId="12789"/>
          <ac:spMkLst>
            <pc:docMk/>
            <pc:sldMk cId="171335779" sldId="1953"/>
            <ac:spMk id="8" creationId="{5EBE7A76-4EE4-4F0C-A143-846C7B750875}"/>
          </ac:spMkLst>
        </pc:spChg>
        <pc:spChg chg="add mod">
          <ac:chgData name="Hopefirmly Lyngdoh [Chillibreeze]" userId="01a7a686-b86c-48d4-b45c-9f5406d63a6c" providerId="ADAL" clId="{9E4800E7-10F6-40F5-9D02-1A116C11FA00}" dt="2020-07-10T17:45:29.173" v="117" actId="571"/>
          <ac:spMkLst>
            <pc:docMk/>
            <pc:sldMk cId="171335779" sldId="1953"/>
            <ac:spMk id="9" creationId="{39CAB8F7-5FE4-4294-85C1-E6CC98E970BD}"/>
          </ac:spMkLst>
        </pc:spChg>
      </pc:sldChg>
      <pc:sldChg chg="modSp mod modAnim">
        <pc:chgData name="Hopefirmly Lyngdoh [Chillibreeze]" userId="01a7a686-b86c-48d4-b45c-9f5406d63a6c" providerId="ADAL" clId="{9E4800E7-10F6-40F5-9D02-1A116C11FA00}" dt="2020-07-11T07:10:35.843" v="433" actId="207"/>
        <pc:sldMkLst>
          <pc:docMk/>
          <pc:sldMk cId="1152369062" sldId="1954"/>
        </pc:sldMkLst>
        <pc:spChg chg="mod">
          <ac:chgData name="Hopefirmly Lyngdoh [Chillibreeze]" userId="01a7a686-b86c-48d4-b45c-9f5406d63a6c" providerId="ADAL" clId="{9E4800E7-10F6-40F5-9D02-1A116C11FA00}" dt="2020-07-11T07:10:28.661" v="431" actId="207"/>
          <ac:spMkLst>
            <pc:docMk/>
            <pc:sldMk cId="1152369062" sldId="1954"/>
            <ac:spMk id="4" creationId="{1D0062D8-2123-4E48-A0CF-E93D4837541A}"/>
          </ac:spMkLst>
        </pc:spChg>
        <pc:spChg chg="mod">
          <ac:chgData name="Hopefirmly Lyngdoh [Chillibreeze]" userId="01a7a686-b86c-48d4-b45c-9f5406d63a6c" providerId="ADAL" clId="{9E4800E7-10F6-40F5-9D02-1A116C11FA00}" dt="2020-07-11T07:10:35.843" v="433" actId="207"/>
          <ac:spMkLst>
            <pc:docMk/>
            <pc:sldMk cId="1152369062" sldId="1954"/>
            <ac:spMk id="5" creationId="{55C80776-2AE1-47C4-B0FD-A170FAC6B8E4}"/>
          </ac:spMkLst>
        </pc:spChg>
        <pc:spChg chg="mod">
          <ac:chgData name="Hopefirmly Lyngdoh [Chillibreeze]" userId="01a7a686-b86c-48d4-b45c-9f5406d63a6c" providerId="ADAL" clId="{9E4800E7-10F6-40F5-9D02-1A116C11FA00}" dt="2020-07-11T07:10:33.846" v="432" actId="207"/>
          <ac:spMkLst>
            <pc:docMk/>
            <pc:sldMk cId="1152369062" sldId="1954"/>
            <ac:spMk id="6" creationId="{B2886395-8C18-49D0-AFF5-F6A04AE00ADF}"/>
          </ac:spMkLst>
        </pc:spChg>
      </pc:sldChg>
      <pc:sldChg chg="addSp delSp modSp mod chgLayout">
        <pc:chgData name="Hopefirmly Lyngdoh [Chillibreeze]" userId="01a7a686-b86c-48d4-b45c-9f5406d63a6c" providerId="ADAL" clId="{9E4800E7-10F6-40F5-9D02-1A116C11FA00}" dt="2020-07-10T17:49:26.939" v="223"/>
        <pc:sldMkLst>
          <pc:docMk/>
          <pc:sldMk cId="3465062807" sldId="1955"/>
        </pc:sldMkLst>
        <pc:spChg chg="mod ord">
          <ac:chgData name="Hopefirmly Lyngdoh [Chillibreeze]" userId="01a7a686-b86c-48d4-b45c-9f5406d63a6c" providerId="ADAL" clId="{9E4800E7-10F6-40F5-9D02-1A116C11FA00}" dt="2020-07-10T17:48:09.830" v="203"/>
          <ac:spMkLst>
            <pc:docMk/>
            <pc:sldMk cId="3465062807" sldId="1955"/>
            <ac:spMk id="2" creationId="{68B12007-FCCD-4CDA-A543-235BA547DD2F}"/>
          </ac:spMkLst>
        </pc:spChg>
        <pc:spChg chg="add del mod">
          <ac:chgData name="Hopefirmly Lyngdoh [Chillibreeze]" userId="01a7a686-b86c-48d4-b45c-9f5406d63a6c" providerId="ADAL" clId="{9E4800E7-10F6-40F5-9D02-1A116C11FA00}" dt="2020-07-10T17:48:09.830" v="203"/>
          <ac:spMkLst>
            <pc:docMk/>
            <pc:sldMk cId="3465062807" sldId="1955"/>
            <ac:spMk id="4" creationId="{514288D4-E06A-4A9F-8FD9-3FC28075A05B}"/>
          </ac:spMkLst>
        </pc:spChg>
        <pc:spChg chg="add del mod">
          <ac:chgData name="Hopefirmly Lyngdoh [Chillibreeze]" userId="01a7a686-b86c-48d4-b45c-9f5406d63a6c" providerId="ADAL" clId="{9E4800E7-10F6-40F5-9D02-1A116C11FA00}" dt="2020-07-10T17:48:11.748" v="204" actId="21"/>
          <ac:spMkLst>
            <pc:docMk/>
            <pc:sldMk cId="3465062807" sldId="1955"/>
            <ac:spMk id="23" creationId="{BDA64DC4-59FE-4865-A7E9-76D5B34569E5}"/>
          </ac:spMkLst>
        </pc:spChg>
        <pc:spChg chg="add del mod">
          <ac:chgData name="Hopefirmly Lyngdoh [Chillibreeze]" userId="01a7a686-b86c-48d4-b45c-9f5406d63a6c" providerId="ADAL" clId="{9E4800E7-10F6-40F5-9D02-1A116C11FA00}" dt="2020-07-10T17:48:35.490" v="216" actId="21"/>
          <ac:spMkLst>
            <pc:docMk/>
            <pc:sldMk cId="3465062807" sldId="1955"/>
            <ac:spMk id="25" creationId="{E0D60D42-D0CA-4FDD-A078-87E8F1160D7C}"/>
          </ac:spMkLst>
        </pc:spChg>
        <pc:spChg chg="add mod">
          <ac:chgData name="Hopefirmly Lyngdoh [Chillibreeze]" userId="01a7a686-b86c-48d4-b45c-9f5406d63a6c" providerId="ADAL" clId="{9E4800E7-10F6-40F5-9D02-1A116C11FA00}" dt="2020-07-10T17:49:26.939" v="223"/>
          <ac:spMkLst>
            <pc:docMk/>
            <pc:sldMk cId="3465062807" sldId="1955"/>
            <ac:spMk id="26" creationId="{18BB5887-A9EC-4472-A182-F0661F82D9D2}"/>
          </ac:spMkLst>
        </pc:spChg>
        <pc:spChg chg="mod">
          <ac:chgData name="Hopefirmly Lyngdoh [Chillibreeze]" userId="01a7a686-b86c-48d4-b45c-9f5406d63a6c" providerId="ADAL" clId="{9E4800E7-10F6-40F5-9D02-1A116C11FA00}" dt="2020-07-10T17:48:34.134" v="215" actId="2711"/>
          <ac:spMkLst>
            <pc:docMk/>
            <pc:sldMk cId="3465062807" sldId="1955"/>
            <ac:spMk id="41" creationId="{A4074F7C-1E1E-4F5D-9519-7F86A3B789E3}"/>
          </ac:spMkLst>
        </pc:spChg>
        <pc:grpChg chg="del">
          <ac:chgData name="Hopefirmly Lyngdoh [Chillibreeze]" userId="01a7a686-b86c-48d4-b45c-9f5406d63a6c" providerId="ADAL" clId="{9E4800E7-10F6-40F5-9D02-1A116C11FA00}" dt="2020-07-10T17:48:37.956" v="217" actId="478"/>
          <ac:grpSpMkLst>
            <pc:docMk/>
            <pc:sldMk cId="3465062807" sldId="1955"/>
            <ac:grpSpMk id="51" creationId="{C55A8517-43C3-4A3F-ADFD-D971115141D4}"/>
          </ac:grpSpMkLst>
        </pc:grpChg>
      </pc:sldChg>
      <pc:sldChg chg="modSp mod">
        <pc:chgData name="Hopefirmly Lyngdoh [Chillibreeze]" userId="01a7a686-b86c-48d4-b45c-9f5406d63a6c" providerId="ADAL" clId="{9E4800E7-10F6-40F5-9D02-1A116C11FA00}" dt="2020-07-10T17:49:18.637" v="222" actId="255"/>
        <pc:sldMkLst>
          <pc:docMk/>
          <pc:sldMk cId="1065413711" sldId="1956"/>
        </pc:sldMkLst>
        <pc:spChg chg="mod">
          <ac:chgData name="Hopefirmly Lyngdoh [Chillibreeze]" userId="01a7a686-b86c-48d4-b45c-9f5406d63a6c" providerId="ADAL" clId="{9E4800E7-10F6-40F5-9D02-1A116C11FA00}" dt="2020-07-10T17:49:18.637" v="222" actId="255"/>
          <ac:spMkLst>
            <pc:docMk/>
            <pc:sldMk cId="1065413711" sldId="1956"/>
            <ac:spMk id="4" creationId="{0CD8665D-5A50-4F07-9D33-48CCD3FD74C7}"/>
          </ac:spMkLst>
        </pc:spChg>
      </pc:sldChg>
      <pc:sldChg chg="add">
        <pc:chgData name="Hopefirmly Lyngdoh [Chillibreeze]" userId="01a7a686-b86c-48d4-b45c-9f5406d63a6c" providerId="ADAL" clId="{9E4800E7-10F6-40F5-9D02-1A116C11FA00}" dt="2020-07-11T03:11:33.639" v="400"/>
        <pc:sldMkLst>
          <pc:docMk/>
          <pc:sldMk cId="839292834" sldId="1957"/>
        </pc:sldMkLst>
      </pc:sldChg>
    </pc:docChg>
  </pc:docChgLst>
  <pc:docChgLst>
    <pc:chgData name="Mili Diengdoh" userId="4e667e83-9d62-4727-9cfb-ee24b16ffb56" providerId="ADAL" clId="{3C044092-C018-48CA-B25B-616345ED741B}"/>
    <pc:docChg chg="undo custSel addSld delSld modSld modMainMaster">
      <pc:chgData name="Mili Diengdoh" userId="4e667e83-9d62-4727-9cfb-ee24b16ffb56" providerId="ADAL" clId="{3C044092-C018-48CA-B25B-616345ED741B}" dt="2020-07-15T16:17:32.215" v="1443" actId="478"/>
      <pc:docMkLst>
        <pc:docMk/>
      </pc:docMkLst>
      <pc:sldChg chg="modSp mod">
        <pc:chgData name="Mili Diengdoh" userId="4e667e83-9d62-4727-9cfb-ee24b16ffb56" providerId="ADAL" clId="{3C044092-C018-48CA-B25B-616345ED741B}" dt="2020-07-14T12:01:44.035" v="643"/>
        <pc:sldMkLst>
          <pc:docMk/>
          <pc:sldMk cId="1548455647" sldId="1494"/>
        </pc:sldMkLst>
        <pc:spChg chg="mod">
          <ac:chgData name="Mili Diengdoh" userId="4e667e83-9d62-4727-9cfb-ee24b16ffb56" providerId="ADAL" clId="{3C044092-C018-48CA-B25B-616345ED741B}" dt="2020-07-14T12:00:50.704" v="637" actId="14100"/>
          <ac:spMkLst>
            <pc:docMk/>
            <pc:sldMk cId="1548455647" sldId="1494"/>
            <ac:spMk id="23" creationId="{B59AB718-3D54-45FE-84E5-567C10595888}"/>
          </ac:spMkLst>
        </pc:spChg>
        <pc:spChg chg="mod">
          <ac:chgData name="Mili Diengdoh" userId="4e667e83-9d62-4727-9cfb-ee24b16ffb56" providerId="ADAL" clId="{3C044092-C018-48CA-B25B-616345ED741B}" dt="2020-07-14T12:01:44.035" v="643"/>
          <ac:spMkLst>
            <pc:docMk/>
            <pc:sldMk cId="1548455647" sldId="1494"/>
            <ac:spMk id="30" creationId="{39630528-10D0-4E8E-98AB-2CA331735D4A}"/>
          </ac:spMkLst>
        </pc:spChg>
        <pc:picChg chg="mod">
          <ac:chgData name="Mili Diengdoh" userId="4e667e83-9d62-4727-9cfb-ee24b16ffb56" providerId="ADAL" clId="{3C044092-C018-48CA-B25B-616345ED741B}" dt="2020-07-14T12:01:00.375" v="640" actId="14100"/>
          <ac:picMkLst>
            <pc:docMk/>
            <pc:sldMk cId="1548455647" sldId="1494"/>
            <ac:picMk id="25" creationId="{E12A5BCF-7FF5-4C07-8F63-15E86DCA8356}"/>
          </ac:picMkLst>
        </pc:picChg>
      </pc:sldChg>
      <pc:sldChg chg="addSp delSp modSp mod">
        <pc:chgData name="Mili Diengdoh" userId="4e667e83-9d62-4727-9cfb-ee24b16ffb56" providerId="ADAL" clId="{3C044092-C018-48CA-B25B-616345ED741B}" dt="2020-07-14T12:03:31.360" v="681" actId="572"/>
        <pc:sldMkLst>
          <pc:docMk/>
          <pc:sldMk cId="1605244184" sldId="1495"/>
        </pc:sldMkLst>
        <pc:spChg chg="add mod topLvl">
          <ac:chgData name="Mili Diengdoh" userId="4e667e83-9d62-4727-9cfb-ee24b16ffb56" providerId="ADAL" clId="{3C044092-C018-48CA-B25B-616345ED741B}" dt="2020-07-14T12:03:14.532" v="679" actId="242"/>
          <ac:spMkLst>
            <pc:docMk/>
            <pc:sldMk cId="1605244184" sldId="1495"/>
            <ac:spMk id="3" creationId="{41E4461E-087D-47BF-893D-EC653D1CBA14}"/>
          </ac:spMkLst>
        </pc:spChg>
        <pc:spChg chg="add mod topLvl">
          <ac:chgData name="Mili Diengdoh" userId="4e667e83-9d62-4727-9cfb-ee24b16ffb56" providerId="ADAL" clId="{3C044092-C018-48CA-B25B-616345ED741B}" dt="2020-07-14T12:03:14.532" v="679" actId="242"/>
          <ac:spMkLst>
            <pc:docMk/>
            <pc:sldMk cId="1605244184" sldId="1495"/>
            <ac:spMk id="4" creationId="{C60F0A18-759E-40B7-B2C2-95512B674A3F}"/>
          </ac:spMkLst>
        </pc:spChg>
        <pc:spChg chg="del">
          <ac:chgData name="Mili Diengdoh" userId="4e667e83-9d62-4727-9cfb-ee24b16ffb56" providerId="ADAL" clId="{3C044092-C018-48CA-B25B-616345ED741B}" dt="2020-07-14T12:02:35.307" v="660" actId="478"/>
          <ac:spMkLst>
            <pc:docMk/>
            <pc:sldMk cId="1605244184" sldId="1495"/>
            <ac:spMk id="32" creationId="{F6D3A871-6CEE-464D-AD4F-73DE287EB0D8}"/>
          </ac:spMkLst>
        </pc:spChg>
        <pc:spChg chg="del">
          <ac:chgData name="Mili Diengdoh" userId="4e667e83-9d62-4727-9cfb-ee24b16ffb56" providerId="ADAL" clId="{3C044092-C018-48CA-B25B-616345ED741B}" dt="2020-07-14T12:02:35.307" v="660" actId="478"/>
          <ac:spMkLst>
            <pc:docMk/>
            <pc:sldMk cId="1605244184" sldId="1495"/>
            <ac:spMk id="36" creationId="{5AF9822C-8F68-49E3-A8B0-B99A5D10B848}"/>
          </ac:spMkLst>
        </pc:spChg>
        <pc:grpChg chg="add del mod">
          <ac:chgData name="Mili Diengdoh" userId="4e667e83-9d62-4727-9cfb-ee24b16ffb56" providerId="ADAL" clId="{3C044092-C018-48CA-B25B-616345ED741B}" dt="2020-07-14T12:02:57.920" v="671" actId="165"/>
          <ac:grpSpMkLst>
            <pc:docMk/>
            <pc:sldMk cId="1605244184" sldId="1495"/>
            <ac:grpSpMk id="6" creationId="{24D78BD2-4F75-4ECD-9170-6AA5C3424FB0}"/>
          </ac:grpSpMkLst>
        </pc:grpChg>
        <pc:graphicFrameChg chg="mod modGraphic">
          <ac:chgData name="Mili Diengdoh" userId="4e667e83-9d62-4727-9cfb-ee24b16ffb56" providerId="ADAL" clId="{3C044092-C018-48CA-B25B-616345ED741B}" dt="2020-07-14T12:03:31.360" v="681" actId="572"/>
          <ac:graphicFrameMkLst>
            <pc:docMk/>
            <pc:sldMk cId="1605244184" sldId="1495"/>
            <ac:graphicFrameMk id="5" creationId="{6522225A-E34C-4DAE-8DEB-8A8D135B0F34}"/>
          </ac:graphicFrameMkLst>
        </pc:graphicFrameChg>
        <pc:picChg chg="del">
          <ac:chgData name="Mili Diengdoh" userId="4e667e83-9d62-4727-9cfb-ee24b16ffb56" providerId="ADAL" clId="{3C044092-C018-48CA-B25B-616345ED741B}" dt="2020-07-14T12:02:18.605" v="652" actId="478"/>
          <ac:picMkLst>
            <pc:docMk/>
            <pc:sldMk cId="1605244184" sldId="1495"/>
            <ac:picMk id="24" creationId="{E9B3B4D7-0BE9-467A-8797-820C4C964F30}"/>
          </ac:picMkLst>
        </pc:picChg>
        <pc:picChg chg="del">
          <ac:chgData name="Mili Diengdoh" userId="4e667e83-9d62-4727-9cfb-ee24b16ffb56" providerId="ADAL" clId="{3C044092-C018-48CA-B25B-616345ED741B}" dt="2020-07-14T12:02:18.605" v="652" actId="478"/>
          <ac:picMkLst>
            <pc:docMk/>
            <pc:sldMk cId="1605244184" sldId="1495"/>
            <ac:picMk id="29" creationId="{0FB6B21D-FFC1-453F-97BD-A7E09C6830ED}"/>
          </ac:picMkLst>
        </pc:picChg>
        <pc:cxnChg chg="del">
          <ac:chgData name="Mili Diengdoh" userId="4e667e83-9d62-4727-9cfb-ee24b16ffb56" providerId="ADAL" clId="{3C044092-C018-48CA-B25B-616345ED741B}" dt="2020-07-14T12:02:20.769" v="653" actId="478"/>
          <ac:cxnSpMkLst>
            <pc:docMk/>
            <pc:sldMk cId="1605244184" sldId="1495"/>
            <ac:cxnSpMk id="27" creationId="{0B081E64-20D2-4A35-9F85-337167B283C6}"/>
          </ac:cxnSpMkLst>
        </pc:cxnChg>
      </pc:sldChg>
      <pc:sldChg chg="addSp delSp modSp mod">
        <pc:chgData name="Mili Diengdoh" userId="4e667e83-9d62-4727-9cfb-ee24b16ffb56" providerId="ADAL" clId="{3C044092-C018-48CA-B25B-616345ED741B}" dt="2020-07-14T12:04:37.688" v="712" actId="14100"/>
        <pc:sldMkLst>
          <pc:docMk/>
          <pc:sldMk cId="2501132300" sldId="1496"/>
        </pc:sldMkLst>
        <pc:spChg chg="mod topLvl">
          <ac:chgData name="Mili Diengdoh" userId="4e667e83-9d62-4727-9cfb-ee24b16ffb56" providerId="ADAL" clId="{3C044092-C018-48CA-B25B-616345ED741B}" dt="2020-07-14T12:04:30.530" v="708" actId="12789"/>
          <ac:spMkLst>
            <pc:docMk/>
            <pc:sldMk cId="2501132300" sldId="1496"/>
            <ac:spMk id="4" creationId="{B46ECDF2-0192-413A-A68A-319699E5F8D8}"/>
          </ac:spMkLst>
        </pc:spChg>
        <pc:spChg chg="mod topLvl">
          <ac:chgData name="Mili Diengdoh" userId="4e667e83-9d62-4727-9cfb-ee24b16ffb56" providerId="ADAL" clId="{3C044092-C018-48CA-B25B-616345ED741B}" dt="2020-07-14T12:04:30.530" v="708" actId="12789"/>
          <ac:spMkLst>
            <pc:docMk/>
            <pc:sldMk cId="2501132300" sldId="1496"/>
            <ac:spMk id="5" creationId="{21EBEB1D-A6B1-4B4C-80CD-00643B85A30B}"/>
          </ac:spMkLst>
        </pc:spChg>
        <pc:spChg chg="del">
          <ac:chgData name="Mili Diengdoh" userId="4e667e83-9d62-4727-9cfb-ee24b16ffb56" providerId="ADAL" clId="{3C044092-C018-48CA-B25B-616345ED741B}" dt="2020-07-14T12:04:12.356" v="689" actId="478"/>
          <ac:spMkLst>
            <pc:docMk/>
            <pc:sldMk cId="2501132300" sldId="1496"/>
            <ac:spMk id="8" creationId="{61A43D73-0004-4DE2-93F8-EA196C65A618}"/>
          </ac:spMkLst>
        </pc:spChg>
        <pc:grpChg chg="add del mod">
          <ac:chgData name="Mili Diengdoh" userId="4e667e83-9d62-4727-9cfb-ee24b16ffb56" providerId="ADAL" clId="{3C044092-C018-48CA-B25B-616345ED741B}" dt="2020-07-14T12:04:15.270" v="691" actId="165"/>
          <ac:grpSpMkLst>
            <pc:docMk/>
            <pc:sldMk cId="2501132300" sldId="1496"/>
            <ac:grpSpMk id="6" creationId="{F163B91E-EB89-4D70-B3A9-C7D10AB03C22}"/>
          </ac:grpSpMkLst>
        </pc:grpChg>
        <pc:picChg chg="mod modCrop">
          <ac:chgData name="Mili Diengdoh" userId="4e667e83-9d62-4727-9cfb-ee24b16ffb56" providerId="ADAL" clId="{3C044092-C018-48CA-B25B-616345ED741B}" dt="2020-07-14T12:04:37.688" v="712" actId="14100"/>
          <ac:picMkLst>
            <pc:docMk/>
            <pc:sldMk cId="2501132300" sldId="1496"/>
            <ac:picMk id="3" creationId="{23FC5AE4-2558-4B47-8229-2BF461CF26E9}"/>
          </ac:picMkLst>
        </pc:picChg>
      </pc:sldChg>
      <pc:sldChg chg="delSp modSp mod">
        <pc:chgData name="Mili Diengdoh" userId="4e667e83-9d62-4727-9cfb-ee24b16ffb56" providerId="ADAL" clId="{3C044092-C018-48CA-B25B-616345ED741B}" dt="2020-07-14T12:08:32.362" v="800" actId="207"/>
        <pc:sldMkLst>
          <pc:docMk/>
          <pc:sldMk cId="1380867704" sldId="1508"/>
        </pc:sldMkLst>
        <pc:spChg chg="mod">
          <ac:chgData name="Mili Diengdoh" userId="4e667e83-9d62-4727-9cfb-ee24b16ffb56" providerId="ADAL" clId="{3C044092-C018-48CA-B25B-616345ED741B}" dt="2020-07-14T12:07:47.217" v="789" actId="1076"/>
          <ac:spMkLst>
            <pc:docMk/>
            <pc:sldMk cId="1380867704" sldId="1508"/>
            <ac:spMk id="7" creationId="{B6C46273-09FE-4D04-9D99-E6962DDF776C}"/>
          </ac:spMkLst>
        </pc:spChg>
        <pc:spChg chg="mod">
          <ac:chgData name="Mili Diengdoh" userId="4e667e83-9d62-4727-9cfb-ee24b16ffb56" providerId="ADAL" clId="{3C044092-C018-48CA-B25B-616345ED741B}" dt="2020-07-14T12:07:47.217" v="789" actId="1076"/>
          <ac:spMkLst>
            <pc:docMk/>
            <pc:sldMk cId="1380867704" sldId="1508"/>
            <ac:spMk id="9" creationId="{5ED77C74-7937-4BF6-B4AE-CCB5A81DB49D}"/>
          </ac:spMkLst>
        </pc:spChg>
        <pc:spChg chg="mod">
          <ac:chgData name="Mili Diengdoh" userId="4e667e83-9d62-4727-9cfb-ee24b16ffb56" providerId="ADAL" clId="{3C044092-C018-48CA-B25B-616345ED741B}" dt="2020-07-14T12:08:20.211" v="797" actId="207"/>
          <ac:spMkLst>
            <pc:docMk/>
            <pc:sldMk cId="1380867704" sldId="1508"/>
            <ac:spMk id="11" creationId="{21D94EAE-7EFD-4B09-8A45-3E1CC706A51A}"/>
          </ac:spMkLst>
        </pc:spChg>
        <pc:spChg chg="mod">
          <ac:chgData name="Mili Diengdoh" userId="4e667e83-9d62-4727-9cfb-ee24b16ffb56" providerId="ADAL" clId="{3C044092-C018-48CA-B25B-616345ED741B}" dt="2020-07-14T12:08:25.230" v="798" actId="207"/>
          <ac:spMkLst>
            <pc:docMk/>
            <pc:sldMk cId="1380867704" sldId="1508"/>
            <ac:spMk id="12" creationId="{032D826C-4A6B-44AB-8C59-85CF0D32EC2C}"/>
          </ac:spMkLst>
        </pc:spChg>
        <pc:spChg chg="mod">
          <ac:chgData name="Mili Diengdoh" userId="4e667e83-9d62-4727-9cfb-ee24b16ffb56" providerId="ADAL" clId="{3C044092-C018-48CA-B25B-616345ED741B}" dt="2020-07-14T12:07:47.217" v="789" actId="1076"/>
          <ac:spMkLst>
            <pc:docMk/>
            <pc:sldMk cId="1380867704" sldId="1508"/>
            <ac:spMk id="13" creationId="{143F2B34-0C0F-4A8B-A3ED-BE6D43315DB9}"/>
          </ac:spMkLst>
        </pc:spChg>
        <pc:spChg chg="mod">
          <ac:chgData name="Mili Diengdoh" userId="4e667e83-9d62-4727-9cfb-ee24b16ffb56" providerId="ADAL" clId="{3C044092-C018-48CA-B25B-616345ED741B}" dt="2020-07-14T12:08:29.182" v="799" actId="208"/>
          <ac:spMkLst>
            <pc:docMk/>
            <pc:sldMk cId="1380867704" sldId="1508"/>
            <ac:spMk id="14" creationId="{18F8F29E-1DC9-4D6C-B9C3-725B9959927C}"/>
          </ac:spMkLst>
        </pc:spChg>
        <pc:spChg chg="mod">
          <ac:chgData name="Mili Diengdoh" userId="4e667e83-9d62-4727-9cfb-ee24b16ffb56" providerId="ADAL" clId="{3C044092-C018-48CA-B25B-616345ED741B}" dt="2020-07-14T12:07:47.217" v="789" actId="1076"/>
          <ac:spMkLst>
            <pc:docMk/>
            <pc:sldMk cId="1380867704" sldId="1508"/>
            <ac:spMk id="16" creationId="{ACD3FB76-FEF7-49FF-A20E-460BCF7C21F5}"/>
          </ac:spMkLst>
        </pc:spChg>
        <pc:spChg chg="mod">
          <ac:chgData name="Mili Diengdoh" userId="4e667e83-9d62-4727-9cfb-ee24b16ffb56" providerId="ADAL" clId="{3C044092-C018-48CA-B25B-616345ED741B}" dt="2020-07-14T12:08:32.362" v="800" actId="207"/>
          <ac:spMkLst>
            <pc:docMk/>
            <pc:sldMk cId="1380867704" sldId="1508"/>
            <ac:spMk id="17" creationId="{22E32292-F5A5-43F0-B193-672FEE355B53}"/>
          </ac:spMkLst>
        </pc:spChg>
        <pc:spChg chg="mod">
          <ac:chgData name="Mili Diengdoh" userId="4e667e83-9d62-4727-9cfb-ee24b16ffb56" providerId="ADAL" clId="{3C044092-C018-48CA-B25B-616345ED741B}" dt="2020-07-14T12:08:13.258" v="796" actId="403"/>
          <ac:spMkLst>
            <pc:docMk/>
            <pc:sldMk cId="1380867704" sldId="1508"/>
            <ac:spMk id="18" creationId="{0DDBBAF2-28D1-4692-B29B-B23907B99F56}"/>
          </ac:spMkLst>
        </pc:spChg>
        <pc:spChg chg="del mod">
          <ac:chgData name="Mili Diengdoh" userId="4e667e83-9d62-4727-9cfb-ee24b16ffb56" providerId="ADAL" clId="{3C044092-C018-48CA-B25B-616345ED741B}" dt="2020-07-14T12:08:02.006" v="795" actId="478"/>
          <ac:spMkLst>
            <pc:docMk/>
            <pc:sldMk cId="1380867704" sldId="1508"/>
            <ac:spMk id="23" creationId="{60156EE5-B968-44E8-99F8-207B252A849F}"/>
          </ac:spMkLst>
        </pc:spChg>
      </pc:sldChg>
      <pc:sldChg chg="addSp delSp modSp mod">
        <pc:chgData name="Mili Diengdoh" userId="4e667e83-9d62-4727-9cfb-ee24b16ffb56" providerId="ADAL" clId="{3C044092-C018-48CA-B25B-616345ED741B}" dt="2020-07-14T12:44:23.883" v="1173" actId="478"/>
        <pc:sldMkLst>
          <pc:docMk/>
          <pc:sldMk cId="392330573" sldId="1509"/>
        </pc:sldMkLst>
        <pc:spChg chg="add mod">
          <ac:chgData name="Mili Diengdoh" userId="4e667e83-9d62-4727-9cfb-ee24b16ffb56" providerId="ADAL" clId="{3C044092-C018-48CA-B25B-616345ED741B}" dt="2020-07-14T12:11:50.080" v="860" actId="13244"/>
          <ac:spMkLst>
            <pc:docMk/>
            <pc:sldMk cId="392330573" sldId="1509"/>
            <ac:spMk id="3" creationId="{1095E575-F2F1-48F4-9B90-9E75450D2E77}"/>
          </ac:spMkLst>
        </pc:spChg>
        <pc:spChg chg="mod">
          <ac:chgData name="Mili Diengdoh" userId="4e667e83-9d62-4727-9cfb-ee24b16ffb56" providerId="ADAL" clId="{3C044092-C018-48CA-B25B-616345ED741B}" dt="2020-07-14T12:11:44.053" v="859" actId="255"/>
          <ac:spMkLst>
            <pc:docMk/>
            <pc:sldMk cId="392330573" sldId="1509"/>
            <ac:spMk id="5" creationId="{BC7882A2-703D-4452-A39B-9C2E0AD1D20F}"/>
          </ac:spMkLst>
        </pc:spChg>
        <pc:spChg chg="del mod">
          <ac:chgData name="Mili Diengdoh" userId="4e667e83-9d62-4727-9cfb-ee24b16ffb56" providerId="ADAL" clId="{3C044092-C018-48CA-B25B-616345ED741B}" dt="2020-07-14T12:11:16.927" v="851"/>
          <ac:spMkLst>
            <pc:docMk/>
            <pc:sldMk cId="392330573" sldId="1509"/>
            <ac:spMk id="6" creationId="{5125323E-ECD8-4453-8FA4-B7C97D600D94}"/>
          </ac:spMkLst>
        </pc:spChg>
        <pc:spChg chg="del mod">
          <ac:chgData name="Mili Diengdoh" userId="4e667e83-9d62-4727-9cfb-ee24b16ffb56" providerId="ADAL" clId="{3C044092-C018-48CA-B25B-616345ED741B}" dt="2020-07-14T12:11:19.643" v="852"/>
          <ac:spMkLst>
            <pc:docMk/>
            <pc:sldMk cId="392330573" sldId="1509"/>
            <ac:spMk id="7" creationId="{EB854A1B-487E-46E7-B2D4-C7A33B5322E7}"/>
          </ac:spMkLst>
        </pc:spChg>
        <pc:spChg chg="del mod">
          <ac:chgData name="Mili Diengdoh" userId="4e667e83-9d62-4727-9cfb-ee24b16ffb56" providerId="ADAL" clId="{3C044092-C018-48CA-B25B-616345ED741B}" dt="2020-07-14T12:11:22.156" v="853"/>
          <ac:spMkLst>
            <pc:docMk/>
            <pc:sldMk cId="392330573" sldId="1509"/>
            <ac:spMk id="8" creationId="{F9EF1596-69A2-48A2-8F56-4D54B1B90FD2}"/>
          </ac:spMkLst>
        </pc:spChg>
        <pc:spChg chg="del mod">
          <ac:chgData name="Mili Diengdoh" userId="4e667e83-9d62-4727-9cfb-ee24b16ffb56" providerId="ADAL" clId="{3C044092-C018-48CA-B25B-616345ED741B}" dt="2020-07-14T12:44:23.883" v="1173" actId="478"/>
          <ac:spMkLst>
            <pc:docMk/>
            <pc:sldMk cId="392330573" sldId="1509"/>
            <ac:spMk id="9" creationId="{4B30E4F5-6B9F-4D35-AD7E-A3B1B0B79051}"/>
          </ac:spMkLst>
        </pc:spChg>
        <pc:spChg chg="mod">
          <ac:chgData name="Mili Diengdoh" userId="4e667e83-9d62-4727-9cfb-ee24b16ffb56" providerId="ADAL" clId="{3C044092-C018-48CA-B25B-616345ED741B}" dt="2020-07-14T12:11:37.799" v="858" actId="2085"/>
          <ac:spMkLst>
            <pc:docMk/>
            <pc:sldMk cId="392330573" sldId="1509"/>
            <ac:spMk id="10" creationId="{D0B82329-DC11-4DA6-93CC-890C8768D1B7}"/>
          </ac:spMkLst>
        </pc:spChg>
        <pc:spChg chg="add mod">
          <ac:chgData name="Mili Diengdoh" userId="4e667e83-9d62-4727-9cfb-ee24b16ffb56" providerId="ADAL" clId="{3C044092-C018-48CA-B25B-616345ED741B}" dt="2020-07-14T12:11:51.416" v="861" actId="13244"/>
          <ac:spMkLst>
            <pc:docMk/>
            <pc:sldMk cId="392330573" sldId="1509"/>
            <ac:spMk id="13" creationId="{8FA146DA-5FE2-4C7D-984E-69022D2F6B3B}"/>
          </ac:spMkLst>
        </pc:spChg>
        <pc:spChg chg="add mod">
          <ac:chgData name="Mili Diengdoh" userId="4e667e83-9d62-4727-9cfb-ee24b16ffb56" providerId="ADAL" clId="{3C044092-C018-48CA-B25B-616345ED741B}" dt="2020-07-14T12:11:52.714" v="862" actId="13244"/>
          <ac:spMkLst>
            <pc:docMk/>
            <pc:sldMk cId="392330573" sldId="1509"/>
            <ac:spMk id="14" creationId="{685FC0B7-BE5F-4B2B-B117-DC4964186E57}"/>
          </ac:spMkLst>
        </pc:spChg>
        <pc:spChg chg="add del mod topLvl">
          <ac:chgData name="Mili Diengdoh" userId="4e667e83-9d62-4727-9cfb-ee24b16ffb56" providerId="ADAL" clId="{3C044092-C018-48CA-B25B-616345ED741B}" dt="2020-07-14T12:11:16.927" v="851"/>
          <ac:spMkLst>
            <pc:docMk/>
            <pc:sldMk cId="392330573" sldId="1509"/>
            <ac:spMk id="15" creationId="{8B9FA63A-5648-4507-B66A-EE9F7164B84C}"/>
          </ac:spMkLst>
        </pc:spChg>
        <pc:spChg chg="add del mod topLvl">
          <ac:chgData name="Mili Diengdoh" userId="4e667e83-9d62-4727-9cfb-ee24b16ffb56" providerId="ADAL" clId="{3C044092-C018-48CA-B25B-616345ED741B}" dt="2020-07-14T12:11:19.643" v="852"/>
          <ac:spMkLst>
            <pc:docMk/>
            <pc:sldMk cId="392330573" sldId="1509"/>
            <ac:spMk id="16" creationId="{C6EFBB67-7726-4E32-B375-3CA3A2370F3C}"/>
          </ac:spMkLst>
        </pc:spChg>
        <pc:spChg chg="add del mod topLvl">
          <ac:chgData name="Mili Diengdoh" userId="4e667e83-9d62-4727-9cfb-ee24b16ffb56" providerId="ADAL" clId="{3C044092-C018-48CA-B25B-616345ED741B}" dt="2020-07-14T12:11:22.156" v="853"/>
          <ac:spMkLst>
            <pc:docMk/>
            <pc:sldMk cId="392330573" sldId="1509"/>
            <ac:spMk id="17" creationId="{4E27DA57-0D45-4609-BB42-E48E2986C282}"/>
          </ac:spMkLst>
        </pc:spChg>
        <pc:spChg chg="mod">
          <ac:chgData name="Mili Diengdoh" userId="4e667e83-9d62-4727-9cfb-ee24b16ffb56" providerId="ADAL" clId="{3C044092-C018-48CA-B25B-616345ED741B}" dt="2020-07-14T12:11:16.927" v="851"/>
          <ac:spMkLst>
            <pc:docMk/>
            <pc:sldMk cId="392330573" sldId="1509"/>
            <ac:spMk id="19" creationId="{3FC48C4F-159D-44B6-8C8B-73F68029B7B4}"/>
          </ac:spMkLst>
        </pc:spChg>
        <pc:spChg chg="mod">
          <ac:chgData name="Mili Diengdoh" userId="4e667e83-9d62-4727-9cfb-ee24b16ffb56" providerId="ADAL" clId="{3C044092-C018-48CA-B25B-616345ED741B}" dt="2020-07-14T12:11:33.488" v="856" actId="1076"/>
          <ac:spMkLst>
            <pc:docMk/>
            <pc:sldMk cId="392330573" sldId="1509"/>
            <ac:spMk id="20" creationId="{5C491DC2-3220-434B-AC10-3B41F184C922}"/>
          </ac:spMkLst>
        </pc:spChg>
        <pc:spChg chg="mod">
          <ac:chgData name="Mili Diengdoh" userId="4e667e83-9d62-4727-9cfb-ee24b16ffb56" providerId="ADAL" clId="{3C044092-C018-48CA-B25B-616345ED741B}" dt="2020-07-14T12:11:19.643" v="852"/>
          <ac:spMkLst>
            <pc:docMk/>
            <pc:sldMk cId="392330573" sldId="1509"/>
            <ac:spMk id="21" creationId="{68342811-9C48-401D-9ECA-EBDE724A04BF}"/>
          </ac:spMkLst>
        </pc:spChg>
        <pc:spChg chg="mod">
          <ac:chgData name="Mili Diengdoh" userId="4e667e83-9d62-4727-9cfb-ee24b16ffb56" providerId="ADAL" clId="{3C044092-C018-48CA-B25B-616345ED741B}" dt="2020-07-14T12:11:22.156" v="853"/>
          <ac:spMkLst>
            <pc:docMk/>
            <pc:sldMk cId="392330573" sldId="1509"/>
            <ac:spMk id="22" creationId="{4D626F01-AB59-48F5-9DB4-432846DA314F}"/>
          </ac:spMkLst>
        </pc:spChg>
        <pc:spChg chg="mod">
          <ac:chgData name="Mili Diengdoh" userId="4e667e83-9d62-4727-9cfb-ee24b16ffb56" providerId="ADAL" clId="{3C044092-C018-48CA-B25B-616345ED741B}" dt="2020-07-14T12:08:52.537" v="805" actId="14100"/>
          <ac:spMkLst>
            <pc:docMk/>
            <pc:sldMk cId="392330573" sldId="1509"/>
            <ac:spMk id="31" creationId="{94CD3131-AF3D-4ADE-89AB-5F29E2A75EDA}"/>
          </ac:spMkLst>
        </pc:spChg>
        <pc:grpChg chg="add del mod">
          <ac:chgData name="Mili Diengdoh" userId="4e667e83-9d62-4727-9cfb-ee24b16ffb56" providerId="ADAL" clId="{3C044092-C018-48CA-B25B-616345ED741B}" dt="2020-07-14T12:11:13.053" v="850" actId="165"/>
          <ac:grpSpMkLst>
            <pc:docMk/>
            <pc:sldMk cId="392330573" sldId="1509"/>
            <ac:grpSpMk id="4" creationId="{14B190F7-A5A3-4687-8EB1-3D3CE6B95195}"/>
          </ac:grpSpMkLst>
        </pc:grpChg>
      </pc:sldChg>
      <pc:sldChg chg="modSp mod">
        <pc:chgData name="Mili Diengdoh" userId="4e667e83-9d62-4727-9cfb-ee24b16ffb56" providerId="ADAL" clId="{3C044092-C018-48CA-B25B-616345ED741B}" dt="2020-07-14T12:13:58.039" v="886" actId="1076"/>
        <pc:sldMkLst>
          <pc:docMk/>
          <pc:sldMk cId="4084345833" sldId="1510"/>
        </pc:sldMkLst>
        <pc:spChg chg="mod">
          <ac:chgData name="Mili Diengdoh" userId="4e667e83-9d62-4727-9cfb-ee24b16ffb56" providerId="ADAL" clId="{3C044092-C018-48CA-B25B-616345ED741B}" dt="2020-07-14T12:13:58.039" v="886" actId="1076"/>
          <ac:spMkLst>
            <pc:docMk/>
            <pc:sldMk cId="4084345833" sldId="1510"/>
            <ac:spMk id="8" creationId="{153BB59C-73F3-4C7F-BB12-2AB37BE921B8}"/>
          </ac:spMkLst>
        </pc:spChg>
      </pc:sldChg>
      <pc:sldChg chg="modSp mod">
        <pc:chgData name="Mili Diengdoh" userId="4e667e83-9d62-4727-9cfb-ee24b16ffb56" providerId="ADAL" clId="{3C044092-C018-48CA-B25B-616345ED741B}" dt="2020-07-14T12:27:42.596" v="1143" actId="14100"/>
        <pc:sldMkLst>
          <pc:docMk/>
          <pc:sldMk cId="1301972457" sldId="1511"/>
        </pc:sldMkLst>
        <pc:spChg chg="mod">
          <ac:chgData name="Mili Diengdoh" userId="4e667e83-9d62-4727-9cfb-ee24b16ffb56" providerId="ADAL" clId="{3C044092-C018-48CA-B25B-616345ED741B}" dt="2020-07-14T12:27:42.596" v="1143" actId="14100"/>
          <ac:spMkLst>
            <pc:docMk/>
            <pc:sldMk cId="1301972457" sldId="1511"/>
            <ac:spMk id="71" creationId="{2FFE6052-A5D0-4F67-8191-B56A8266178D}"/>
          </ac:spMkLst>
        </pc:spChg>
        <pc:spChg chg="mod">
          <ac:chgData name="Mili Diengdoh" userId="4e667e83-9d62-4727-9cfb-ee24b16ffb56" providerId="ADAL" clId="{3C044092-C018-48CA-B25B-616345ED741B}" dt="2020-07-14T12:27:42.596" v="1143" actId="14100"/>
          <ac:spMkLst>
            <pc:docMk/>
            <pc:sldMk cId="1301972457" sldId="1511"/>
            <ac:spMk id="76" creationId="{18CA6651-E263-47D6-87C0-8DA037C03B47}"/>
          </ac:spMkLst>
        </pc:spChg>
        <pc:spChg chg="mod">
          <ac:chgData name="Mili Diengdoh" userId="4e667e83-9d62-4727-9cfb-ee24b16ffb56" providerId="ADAL" clId="{3C044092-C018-48CA-B25B-616345ED741B}" dt="2020-07-14T12:27:42.596" v="1143" actId="14100"/>
          <ac:spMkLst>
            <pc:docMk/>
            <pc:sldMk cId="1301972457" sldId="1511"/>
            <ac:spMk id="81" creationId="{E1802F40-CC85-47D4-BCBC-659F60732E37}"/>
          </ac:spMkLst>
        </pc:spChg>
        <pc:spChg chg="mod">
          <ac:chgData name="Mili Diengdoh" userId="4e667e83-9d62-4727-9cfb-ee24b16ffb56" providerId="ADAL" clId="{3C044092-C018-48CA-B25B-616345ED741B}" dt="2020-07-14T12:27:42.596" v="1143" actId="14100"/>
          <ac:spMkLst>
            <pc:docMk/>
            <pc:sldMk cId="1301972457" sldId="1511"/>
            <ac:spMk id="86" creationId="{26053DB1-CC8D-4CBC-9B23-21229072A545}"/>
          </ac:spMkLst>
        </pc:spChg>
      </pc:sldChg>
      <pc:sldChg chg="addSp delSp modSp mod">
        <pc:chgData name="Mili Diengdoh" userId="4e667e83-9d62-4727-9cfb-ee24b16ffb56" providerId="ADAL" clId="{3C044092-C018-48CA-B25B-616345ED741B}" dt="2020-07-14T12:44:42.366" v="1178" actId="1076"/>
        <pc:sldMkLst>
          <pc:docMk/>
          <pc:sldMk cId="160164597" sldId="1512"/>
        </pc:sldMkLst>
        <pc:spChg chg="mod">
          <ac:chgData name="Mili Diengdoh" userId="4e667e83-9d62-4727-9cfb-ee24b16ffb56" providerId="ADAL" clId="{3C044092-C018-48CA-B25B-616345ED741B}" dt="2020-07-14T12:12:37.343" v="874" actId="14100"/>
          <ac:spMkLst>
            <pc:docMk/>
            <pc:sldMk cId="160164597" sldId="1512"/>
            <ac:spMk id="3" creationId="{B8ABF363-E56B-4052-B6F4-FBC7420F77EF}"/>
          </ac:spMkLst>
        </pc:spChg>
        <pc:spChg chg="mod topLvl">
          <ac:chgData name="Mili Diengdoh" userId="4e667e83-9d62-4727-9cfb-ee24b16ffb56" providerId="ADAL" clId="{3C044092-C018-48CA-B25B-616345ED741B}" dt="2020-07-14T12:44:36.801" v="1176" actId="164"/>
          <ac:spMkLst>
            <pc:docMk/>
            <pc:sldMk cId="160164597" sldId="1512"/>
            <ac:spMk id="6" creationId="{52450C54-815C-4A37-B1E6-5139B4D08D89}"/>
          </ac:spMkLst>
        </pc:spChg>
        <pc:spChg chg="mod">
          <ac:chgData name="Mili Diengdoh" userId="4e667e83-9d62-4727-9cfb-ee24b16ffb56" providerId="ADAL" clId="{3C044092-C018-48CA-B25B-616345ED741B}" dt="2020-07-14T12:12:37.343" v="874" actId="14100"/>
          <ac:spMkLst>
            <pc:docMk/>
            <pc:sldMk cId="160164597" sldId="1512"/>
            <ac:spMk id="7" creationId="{183F506C-D4ED-4DEA-BF1D-65A9E190186B}"/>
          </ac:spMkLst>
        </pc:spChg>
        <pc:spChg chg="del mod">
          <ac:chgData name="Mili Diengdoh" userId="4e667e83-9d62-4727-9cfb-ee24b16ffb56" providerId="ADAL" clId="{3C044092-C018-48CA-B25B-616345ED741B}" dt="2020-07-14T12:44:13.351" v="1172" actId="478"/>
          <ac:spMkLst>
            <pc:docMk/>
            <pc:sldMk cId="160164597" sldId="1512"/>
            <ac:spMk id="8" creationId="{D4CE55DD-A7D2-40B9-BA15-8335FBF2C6E5}"/>
          </ac:spMkLst>
        </pc:spChg>
        <pc:spChg chg="mod">
          <ac:chgData name="Mili Diengdoh" userId="4e667e83-9d62-4727-9cfb-ee24b16ffb56" providerId="ADAL" clId="{3C044092-C018-48CA-B25B-616345ED741B}" dt="2020-07-14T12:13:21.863" v="883" actId="962"/>
          <ac:spMkLst>
            <pc:docMk/>
            <pc:sldMk cId="160164597" sldId="1512"/>
            <ac:spMk id="16" creationId="{9D3FC70F-ED14-4C31-AFA9-BB0CA44C37BC}"/>
          </ac:spMkLst>
        </pc:spChg>
        <pc:grpChg chg="add del mod">
          <ac:chgData name="Mili Diengdoh" userId="4e667e83-9d62-4727-9cfb-ee24b16ffb56" providerId="ADAL" clId="{3C044092-C018-48CA-B25B-616345ED741B}" dt="2020-07-14T12:13:19.879" v="882" actId="165"/>
          <ac:grpSpMkLst>
            <pc:docMk/>
            <pc:sldMk cId="160164597" sldId="1512"/>
            <ac:grpSpMk id="9" creationId="{AD8C2FD5-4AA4-4458-9181-B8FBB56ED53F}"/>
          </ac:grpSpMkLst>
        </pc:grpChg>
        <pc:grpChg chg="add mod">
          <ac:chgData name="Mili Diengdoh" userId="4e667e83-9d62-4727-9cfb-ee24b16ffb56" providerId="ADAL" clId="{3C044092-C018-48CA-B25B-616345ED741B}" dt="2020-07-14T12:44:42.366" v="1178" actId="1076"/>
          <ac:grpSpMkLst>
            <pc:docMk/>
            <pc:sldMk cId="160164597" sldId="1512"/>
            <ac:grpSpMk id="10" creationId="{CB3F307C-CCB0-47E4-9990-2B3083510F1D}"/>
          </ac:grpSpMkLst>
        </pc:grpChg>
        <pc:picChg chg="mod topLvl">
          <ac:chgData name="Mili Diengdoh" userId="4e667e83-9d62-4727-9cfb-ee24b16ffb56" providerId="ADAL" clId="{3C044092-C018-48CA-B25B-616345ED741B}" dt="2020-07-14T12:44:38.504" v="1177" actId="554"/>
          <ac:picMkLst>
            <pc:docMk/>
            <pc:sldMk cId="160164597" sldId="1512"/>
            <ac:picMk id="4" creationId="{0F76E945-5A01-4D51-B341-0BF35DA752D2}"/>
          </ac:picMkLst>
        </pc:picChg>
        <pc:picChg chg="mod topLvl">
          <ac:chgData name="Mili Diengdoh" userId="4e667e83-9d62-4727-9cfb-ee24b16ffb56" providerId="ADAL" clId="{3C044092-C018-48CA-B25B-616345ED741B}" dt="2020-07-14T12:44:36.801" v="1176" actId="164"/>
          <ac:picMkLst>
            <pc:docMk/>
            <pc:sldMk cId="160164597" sldId="1512"/>
            <ac:picMk id="5" creationId="{4B80B36B-8256-4EC6-ABA3-A9E6A1A5252C}"/>
          </ac:picMkLst>
        </pc:picChg>
        <pc:cxnChg chg="del mod topLvl">
          <ac:chgData name="Mili Diengdoh" userId="4e667e83-9d62-4727-9cfb-ee24b16ffb56" providerId="ADAL" clId="{3C044092-C018-48CA-B25B-616345ED741B}" dt="2020-07-14T12:44:31.064" v="1175" actId="478"/>
          <ac:cxnSpMkLst>
            <pc:docMk/>
            <pc:sldMk cId="160164597" sldId="1512"/>
            <ac:cxnSpMk id="18" creationId="{4DB5874D-6713-4983-A102-40D5D2BA2D2A}"/>
          </ac:cxnSpMkLst>
        </pc:cxnChg>
        <pc:cxnChg chg="del mod topLvl">
          <ac:chgData name="Mili Diengdoh" userId="4e667e83-9d62-4727-9cfb-ee24b16ffb56" providerId="ADAL" clId="{3C044092-C018-48CA-B25B-616345ED741B}" dt="2020-07-14T12:44:30.214" v="1174" actId="478"/>
          <ac:cxnSpMkLst>
            <pc:docMk/>
            <pc:sldMk cId="160164597" sldId="1512"/>
            <ac:cxnSpMk id="19" creationId="{3A6ED00F-8042-43A6-8BC6-39FFED520415}"/>
          </ac:cxnSpMkLst>
        </pc:cxnChg>
      </pc:sldChg>
      <pc:sldChg chg="addSp delSp modSp mod">
        <pc:chgData name="Mili Diengdoh" userId="4e667e83-9d62-4727-9cfb-ee24b16ffb56" providerId="ADAL" clId="{3C044092-C018-48CA-B25B-616345ED741B}" dt="2020-07-14T12:24:07.969" v="1068" actId="13244"/>
        <pc:sldMkLst>
          <pc:docMk/>
          <pc:sldMk cId="316322398" sldId="1870"/>
        </pc:sldMkLst>
        <pc:spChg chg="add mod topLvl">
          <ac:chgData name="Mili Diengdoh" userId="4e667e83-9d62-4727-9cfb-ee24b16ffb56" providerId="ADAL" clId="{3C044092-C018-48CA-B25B-616345ED741B}" dt="2020-07-14T12:23:37.782" v="1058" actId="165"/>
          <ac:spMkLst>
            <pc:docMk/>
            <pc:sldMk cId="316322398" sldId="1870"/>
            <ac:spMk id="4" creationId="{5D010595-CC0F-4F28-A32C-2291A9AFD36C}"/>
          </ac:spMkLst>
        </pc:spChg>
        <pc:spChg chg="add mod topLvl">
          <ac:chgData name="Mili Diengdoh" userId="4e667e83-9d62-4727-9cfb-ee24b16ffb56" providerId="ADAL" clId="{3C044092-C018-48CA-B25B-616345ED741B}" dt="2020-07-14T12:23:37.782" v="1058" actId="165"/>
          <ac:spMkLst>
            <pc:docMk/>
            <pc:sldMk cId="316322398" sldId="1870"/>
            <ac:spMk id="6" creationId="{3002A13C-E37E-468F-A120-048FE42E8A1D}"/>
          </ac:spMkLst>
        </pc:spChg>
        <pc:spChg chg="add mod topLvl">
          <ac:chgData name="Mili Diengdoh" userId="4e667e83-9d62-4727-9cfb-ee24b16ffb56" providerId="ADAL" clId="{3C044092-C018-48CA-B25B-616345ED741B}" dt="2020-07-14T12:23:37.782" v="1058" actId="165"/>
          <ac:spMkLst>
            <pc:docMk/>
            <pc:sldMk cId="316322398" sldId="1870"/>
            <ac:spMk id="8" creationId="{5DC326C0-FA8B-4A35-B0AF-748BDD70EE0A}"/>
          </ac:spMkLst>
        </pc:spChg>
        <pc:spChg chg="add mod topLvl">
          <ac:chgData name="Mili Diengdoh" userId="4e667e83-9d62-4727-9cfb-ee24b16ffb56" providerId="ADAL" clId="{3C044092-C018-48CA-B25B-616345ED741B}" dt="2020-07-14T12:23:37.782" v="1058" actId="165"/>
          <ac:spMkLst>
            <pc:docMk/>
            <pc:sldMk cId="316322398" sldId="1870"/>
            <ac:spMk id="10" creationId="{389457DD-6567-4613-8249-11B85AA087A3}"/>
          </ac:spMkLst>
        </pc:spChg>
        <pc:spChg chg="add mod topLvl">
          <ac:chgData name="Mili Diengdoh" userId="4e667e83-9d62-4727-9cfb-ee24b16ffb56" providerId="ADAL" clId="{3C044092-C018-48CA-B25B-616345ED741B}" dt="2020-07-14T12:23:37.782" v="1058" actId="165"/>
          <ac:spMkLst>
            <pc:docMk/>
            <pc:sldMk cId="316322398" sldId="1870"/>
            <ac:spMk id="34" creationId="{265CC495-1E8F-4337-AE71-0775ED616727}"/>
          </ac:spMkLst>
        </pc:spChg>
        <pc:spChg chg="mod topLvl">
          <ac:chgData name="Mili Diengdoh" userId="4e667e83-9d62-4727-9cfb-ee24b16ffb56" providerId="ADAL" clId="{3C044092-C018-48CA-B25B-616345ED741B}" dt="2020-07-14T12:23:49.369" v="1059" actId="13244"/>
          <ac:spMkLst>
            <pc:docMk/>
            <pc:sldMk cId="316322398" sldId="1870"/>
            <ac:spMk id="66" creationId="{3C5FA106-5E25-4554-AB17-915634ED251D}"/>
          </ac:spMkLst>
        </pc:spChg>
        <pc:spChg chg="mod topLvl">
          <ac:chgData name="Mili Diengdoh" userId="4e667e83-9d62-4727-9cfb-ee24b16ffb56" providerId="ADAL" clId="{3C044092-C018-48CA-B25B-616345ED741B}" dt="2020-07-14T12:23:50.383" v="1060" actId="13244"/>
          <ac:spMkLst>
            <pc:docMk/>
            <pc:sldMk cId="316322398" sldId="1870"/>
            <ac:spMk id="71" creationId="{D90624EA-5CBB-4AC1-A1C8-9BC7763B40F1}"/>
          </ac:spMkLst>
        </pc:spChg>
        <pc:spChg chg="mod topLvl">
          <ac:chgData name="Mili Diengdoh" userId="4e667e83-9d62-4727-9cfb-ee24b16ffb56" providerId="ADAL" clId="{3C044092-C018-48CA-B25B-616345ED741B}" dt="2020-07-14T12:23:52.673" v="1062" actId="13244"/>
          <ac:spMkLst>
            <pc:docMk/>
            <pc:sldMk cId="316322398" sldId="1870"/>
            <ac:spMk id="76" creationId="{0BC1C9E9-C916-4E5C-A06C-C3EFF19C97B9}"/>
          </ac:spMkLst>
        </pc:spChg>
        <pc:spChg chg="mod topLvl">
          <ac:chgData name="Mili Diengdoh" userId="4e667e83-9d62-4727-9cfb-ee24b16ffb56" providerId="ADAL" clId="{3C044092-C018-48CA-B25B-616345ED741B}" dt="2020-07-14T12:23:54.030" v="1063" actId="13244"/>
          <ac:spMkLst>
            <pc:docMk/>
            <pc:sldMk cId="316322398" sldId="1870"/>
            <ac:spMk id="81" creationId="{DCEF8158-9C5D-40C1-99A8-18E0CBDC5216}"/>
          </ac:spMkLst>
        </pc:spChg>
        <pc:spChg chg="mod topLvl">
          <ac:chgData name="Mili Diengdoh" userId="4e667e83-9d62-4727-9cfb-ee24b16ffb56" providerId="ADAL" clId="{3C044092-C018-48CA-B25B-616345ED741B}" dt="2020-07-14T12:24:00.872" v="1064" actId="13244"/>
          <ac:spMkLst>
            <pc:docMk/>
            <pc:sldMk cId="316322398" sldId="1870"/>
            <ac:spMk id="86" creationId="{6CB30D02-72B3-4DE7-BC4E-ED6BD3923780}"/>
          </ac:spMkLst>
        </pc:spChg>
        <pc:grpChg chg="add del mod">
          <ac:chgData name="Mili Diengdoh" userId="4e667e83-9d62-4727-9cfb-ee24b16ffb56" providerId="ADAL" clId="{3C044092-C018-48CA-B25B-616345ED741B}" dt="2020-07-14T12:23:37.782" v="1058" actId="165"/>
          <ac:grpSpMkLst>
            <pc:docMk/>
            <pc:sldMk cId="316322398" sldId="1870"/>
            <ac:grpSpMk id="15" creationId="{064A453E-A045-441B-BCDD-39308F7FFEDB}"/>
          </ac:grpSpMkLst>
        </pc:grpChg>
        <pc:grpChg chg="add del mod">
          <ac:chgData name="Mili Diengdoh" userId="4e667e83-9d62-4727-9cfb-ee24b16ffb56" providerId="ADAL" clId="{3C044092-C018-48CA-B25B-616345ED741B}" dt="2020-07-14T12:23:37.782" v="1058" actId="165"/>
          <ac:grpSpMkLst>
            <pc:docMk/>
            <pc:sldMk cId="316322398" sldId="1870"/>
            <ac:grpSpMk id="16" creationId="{1D88B92F-1265-4011-A1E7-70112E4AC94D}"/>
          </ac:grpSpMkLst>
        </pc:grpChg>
        <pc:grpChg chg="add del mod">
          <ac:chgData name="Mili Diengdoh" userId="4e667e83-9d62-4727-9cfb-ee24b16ffb56" providerId="ADAL" clId="{3C044092-C018-48CA-B25B-616345ED741B}" dt="2020-07-14T12:23:37.782" v="1058" actId="165"/>
          <ac:grpSpMkLst>
            <pc:docMk/>
            <pc:sldMk cId="316322398" sldId="1870"/>
            <ac:grpSpMk id="18" creationId="{9554094F-E63A-492C-80AD-3064B51F39E9}"/>
          </ac:grpSpMkLst>
        </pc:grpChg>
        <pc:grpChg chg="add del mod">
          <ac:chgData name="Mili Diengdoh" userId="4e667e83-9d62-4727-9cfb-ee24b16ffb56" providerId="ADAL" clId="{3C044092-C018-48CA-B25B-616345ED741B}" dt="2020-07-14T12:23:37.782" v="1058" actId="165"/>
          <ac:grpSpMkLst>
            <pc:docMk/>
            <pc:sldMk cId="316322398" sldId="1870"/>
            <ac:grpSpMk id="20" creationId="{4EF92595-7CF0-4CA7-A8F3-641FF1408F18}"/>
          </ac:grpSpMkLst>
        </pc:grpChg>
        <pc:grpChg chg="add del mod">
          <ac:chgData name="Mili Diengdoh" userId="4e667e83-9d62-4727-9cfb-ee24b16ffb56" providerId="ADAL" clId="{3C044092-C018-48CA-B25B-616345ED741B}" dt="2020-07-14T12:23:37.782" v="1058" actId="165"/>
          <ac:grpSpMkLst>
            <pc:docMk/>
            <pc:sldMk cId="316322398" sldId="1870"/>
            <ac:grpSpMk id="22" creationId="{C286DD38-ADE3-4F40-A05A-796823E1B6BF}"/>
          </ac:grpSpMkLst>
        </pc:grpChg>
        <pc:picChg chg="add mod topLvl">
          <ac:chgData name="Mili Diengdoh" userId="4e667e83-9d62-4727-9cfb-ee24b16ffb56" providerId="ADAL" clId="{3C044092-C018-48CA-B25B-616345ED741B}" dt="2020-07-14T12:23:37.782" v="1058" actId="165"/>
          <ac:picMkLst>
            <pc:docMk/>
            <pc:sldMk cId="316322398" sldId="1870"/>
            <ac:picMk id="3" creationId="{B988BCFB-0BC9-4521-9B9E-4897973BE417}"/>
          </ac:picMkLst>
        </pc:picChg>
        <pc:picChg chg="add mod topLvl">
          <ac:chgData name="Mili Diengdoh" userId="4e667e83-9d62-4727-9cfb-ee24b16ffb56" providerId="ADAL" clId="{3C044092-C018-48CA-B25B-616345ED741B}" dt="2020-07-14T12:23:37.782" v="1058" actId="165"/>
          <ac:picMkLst>
            <pc:docMk/>
            <pc:sldMk cId="316322398" sldId="1870"/>
            <ac:picMk id="5" creationId="{D8585FDC-2E61-4EE8-942F-1AB483404B7F}"/>
          </ac:picMkLst>
        </pc:picChg>
        <pc:picChg chg="add mod topLvl">
          <ac:chgData name="Mili Diengdoh" userId="4e667e83-9d62-4727-9cfb-ee24b16ffb56" providerId="ADAL" clId="{3C044092-C018-48CA-B25B-616345ED741B}" dt="2020-07-14T12:23:37.782" v="1058" actId="165"/>
          <ac:picMkLst>
            <pc:docMk/>
            <pc:sldMk cId="316322398" sldId="1870"/>
            <ac:picMk id="7" creationId="{1008C569-F053-4A6D-85BA-24A907CE4A93}"/>
          </ac:picMkLst>
        </pc:picChg>
        <pc:picChg chg="add mod topLvl">
          <ac:chgData name="Mili Diengdoh" userId="4e667e83-9d62-4727-9cfb-ee24b16ffb56" providerId="ADAL" clId="{3C044092-C018-48CA-B25B-616345ED741B}" dt="2020-07-14T12:23:37.782" v="1058" actId="165"/>
          <ac:picMkLst>
            <pc:docMk/>
            <pc:sldMk cId="316322398" sldId="1870"/>
            <ac:picMk id="9" creationId="{329F3BC7-CA4E-4C08-A027-6F85DF88C3E3}"/>
          </ac:picMkLst>
        </pc:picChg>
        <pc:picChg chg="add mod topLvl">
          <ac:chgData name="Mili Diengdoh" userId="4e667e83-9d62-4727-9cfb-ee24b16ffb56" providerId="ADAL" clId="{3C044092-C018-48CA-B25B-616345ED741B}" dt="2020-07-14T12:23:37.782" v="1058" actId="165"/>
          <ac:picMkLst>
            <pc:docMk/>
            <pc:sldMk cId="316322398" sldId="1870"/>
            <ac:picMk id="33" creationId="{77BE84AE-FE59-447F-B4DC-D1118F23DF90}"/>
          </ac:picMkLst>
        </pc:picChg>
        <pc:picChg chg="del">
          <ac:chgData name="Mili Diengdoh" userId="4e667e83-9d62-4727-9cfb-ee24b16ffb56" providerId="ADAL" clId="{3C044092-C018-48CA-B25B-616345ED741B}" dt="2020-07-14T12:22:48.971" v="1030" actId="478"/>
          <ac:picMkLst>
            <pc:docMk/>
            <pc:sldMk cId="316322398" sldId="1870"/>
            <ac:picMk id="64" creationId="{9BDC84D6-527C-476E-9C51-D407CCDCF4D3}"/>
          </ac:picMkLst>
        </pc:picChg>
        <pc:picChg chg="del">
          <ac:chgData name="Mili Diengdoh" userId="4e667e83-9d62-4727-9cfb-ee24b16ffb56" providerId="ADAL" clId="{3C044092-C018-48CA-B25B-616345ED741B}" dt="2020-07-14T12:22:48.971" v="1030" actId="478"/>
          <ac:picMkLst>
            <pc:docMk/>
            <pc:sldMk cId="316322398" sldId="1870"/>
            <ac:picMk id="69" creationId="{317A890B-3824-44CD-BB68-E07DB5FEBA5A}"/>
          </ac:picMkLst>
        </pc:picChg>
        <pc:picChg chg="del">
          <ac:chgData name="Mili Diengdoh" userId="4e667e83-9d62-4727-9cfb-ee24b16ffb56" providerId="ADAL" clId="{3C044092-C018-48CA-B25B-616345ED741B}" dt="2020-07-14T12:22:48.971" v="1030" actId="478"/>
          <ac:picMkLst>
            <pc:docMk/>
            <pc:sldMk cId="316322398" sldId="1870"/>
            <ac:picMk id="74" creationId="{AE17C466-F312-4718-9884-5CBE7156F954}"/>
          </ac:picMkLst>
        </pc:picChg>
        <pc:picChg chg="del">
          <ac:chgData name="Mili Diengdoh" userId="4e667e83-9d62-4727-9cfb-ee24b16ffb56" providerId="ADAL" clId="{3C044092-C018-48CA-B25B-616345ED741B}" dt="2020-07-14T12:22:48.971" v="1030" actId="478"/>
          <ac:picMkLst>
            <pc:docMk/>
            <pc:sldMk cId="316322398" sldId="1870"/>
            <ac:picMk id="79" creationId="{CF3C5E95-9B70-4695-A942-9BC524EE666C}"/>
          </ac:picMkLst>
        </pc:picChg>
        <pc:picChg chg="del">
          <ac:chgData name="Mili Diengdoh" userId="4e667e83-9d62-4727-9cfb-ee24b16ffb56" providerId="ADAL" clId="{3C044092-C018-48CA-B25B-616345ED741B}" dt="2020-07-14T12:22:48.971" v="1030" actId="478"/>
          <ac:picMkLst>
            <pc:docMk/>
            <pc:sldMk cId="316322398" sldId="1870"/>
            <ac:picMk id="84" creationId="{733BCD05-E890-4F06-9B65-11799FE76E1D}"/>
          </ac:picMkLst>
        </pc:picChg>
        <pc:cxnChg chg="mod">
          <ac:chgData name="Mili Diengdoh" userId="4e667e83-9d62-4727-9cfb-ee24b16ffb56" providerId="ADAL" clId="{3C044092-C018-48CA-B25B-616345ED741B}" dt="2020-07-14T12:24:03.184" v="1065" actId="13244"/>
          <ac:cxnSpMkLst>
            <pc:docMk/>
            <pc:sldMk cId="316322398" sldId="1870"/>
            <ac:cxnSpMk id="67" creationId="{7A017D1E-285B-486F-A4F5-20F6F7DB78FD}"/>
          </ac:cxnSpMkLst>
        </pc:cxnChg>
        <pc:cxnChg chg="mod">
          <ac:chgData name="Mili Diengdoh" userId="4e667e83-9d62-4727-9cfb-ee24b16ffb56" providerId="ADAL" clId="{3C044092-C018-48CA-B25B-616345ED741B}" dt="2020-07-14T12:24:04.592" v="1066" actId="13244"/>
          <ac:cxnSpMkLst>
            <pc:docMk/>
            <pc:sldMk cId="316322398" sldId="1870"/>
            <ac:cxnSpMk id="72" creationId="{531D1E68-F3A6-4DB0-B336-E25B3753458C}"/>
          </ac:cxnSpMkLst>
        </pc:cxnChg>
        <pc:cxnChg chg="mod">
          <ac:chgData name="Mili Diengdoh" userId="4e667e83-9d62-4727-9cfb-ee24b16ffb56" providerId="ADAL" clId="{3C044092-C018-48CA-B25B-616345ED741B}" dt="2020-07-14T12:24:06.687" v="1067" actId="13244"/>
          <ac:cxnSpMkLst>
            <pc:docMk/>
            <pc:sldMk cId="316322398" sldId="1870"/>
            <ac:cxnSpMk id="77" creationId="{DA162D0B-EDCD-41AC-8733-0A944FE45D4C}"/>
          </ac:cxnSpMkLst>
        </pc:cxnChg>
        <pc:cxnChg chg="mod">
          <ac:chgData name="Mili Diengdoh" userId="4e667e83-9d62-4727-9cfb-ee24b16ffb56" providerId="ADAL" clId="{3C044092-C018-48CA-B25B-616345ED741B}" dt="2020-07-14T12:24:07.969" v="1068" actId="13244"/>
          <ac:cxnSpMkLst>
            <pc:docMk/>
            <pc:sldMk cId="316322398" sldId="1870"/>
            <ac:cxnSpMk id="82" creationId="{EFCB1A3B-823F-44E9-8A2F-449016C27A70}"/>
          </ac:cxnSpMkLst>
        </pc:cxnChg>
      </pc:sldChg>
      <pc:sldChg chg="addSp delSp modSp mod">
        <pc:chgData name="Mili Diengdoh" userId="4e667e83-9d62-4727-9cfb-ee24b16ffb56" providerId="ADAL" clId="{3C044092-C018-48CA-B25B-616345ED741B}" dt="2020-07-14T12:25:44.087" v="1114" actId="165"/>
        <pc:sldMkLst>
          <pc:docMk/>
          <pc:sldMk cId="3665884044" sldId="1871"/>
        </pc:sldMkLst>
        <pc:spChg chg="mod topLvl">
          <ac:chgData name="Mili Diengdoh" userId="4e667e83-9d62-4727-9cfb-ee24b16ffb56" providerId="ADAL" clId="{3C044092-C018-48CA-B25B-616345ED741B}" dt="2020-07-14T12:25:44.087" v="1114" actId="165"/>
          <ac:spMkLst>
            <pc:docMk/>
            <pc:sldMk cId="3665884044" sldId="1871"/>
            <ac:spMk id="74" creationId="{4E760789-7970-4A87-9374-2262B3CC99E1}"/>
          </ac:spMkLst>
        </pc:spChg>
        <pc:spChg chg="mod topLvl">
          <ac:chgData name="Mili Diengdoh" userId="4e667e83-9d62-4727-9cfb-ee24b16ffb56" providerId="ADAL" clId="{3C044092-C018-48CA-B25B-616345ED741B}" dt="2020-07-14T12:25:44.087" v="1114" actId="165"/>
          <ac:spMkLst>
            <pc:docMk/>
            <pc:sldMk cId="3665884044" sldId="1871"/>
            <ac:spMk id="76" creationId="{0AE51020-D473-475B-84BC-5F5A2266AAF5}"/>
          </ac:spMkLst>
        </pc:spChg>
        <pc:spChg chg="mod topLvl">
          <ac:chgData name="Mili Diengdoh" userId="4e667e83-9d62-4727-9cfb-ee24b16ffb56" providerId="ADAL" clId="{3C044092-C018-48CA-B25B-616345ED741B}" dt="2020-07-14T12:25:44.087" v="1114" actId="165"/>
          <ac:spMkLst>
            <pc:docMk/>
            <pc:sldMk cId="3665884044" sldId="1871"/>
            <ac:spMk id="78" creationId="{6073FCB9-C537-4312-B7EE-4430FA72E19C}"/>
          </ac:spMkLst>
        </pc:spChg>
        <pc:spChg chg="mod topLvl">
          <ac:chgData name="Mili Diengdoh" userId="4e667e83-9d62-4727-9cfb-ee24b16ffb56" providerId="ADAL" clId="{3C044092-C018-48CA-B25B-616345ED741B}" dt="2020-07-14T12:25:44.087" v="1114" actId="165"/>
          <ac:spMkLst>
            <pc:docMk/>
            <pc:sldMk cId="3665884044" sldId="1871"/>
            <ac:spMk id="80" creationId="{0F57DD84-08F3-4E42-AB76-3813CF5105A4}"/>
          </ac:spMkLst>
        </pc:spChg>
        <pc:spChg chg="mod topLvl">
          <ac:chgData name="Mili Diengdoh" userId="4e667e83-9d62-4727-9cfb-ee24b16ffb56" providerId="ADAL" clId="{3C044092-C018-48CA-B25B-616345ED741B}" dt="2020-07-14T12:25:44.087" v="1114" actId="165"/>
          <ac:spMkLst>
            <pc:docMk/>
            <pc:sldMk cId="3665884044" sldId="1871"/>
            <ac:spMk id="82" creationId="{F7E42044-D4BE-4B4D-AB2A-48C10130BA7D}"/>
          </ac:spMkLst>
        </pc:spChg>
        <pc:spChg chg="mod topLvl">
          <ac:chgData name="Mili Diengdoh" userId="4e667e83-9d62-4727-9cfb-ee24b16ffb56" providerId="ADAL" clId="{3C044092-C018-48CA-B25B-616345ED741B}" dt="2020-07-14T12:25:44.087" v="1114" actId="165"/>
          <ac:spMkLst>
            <pc:docMk/>
            <pc:sldMk cId="3665884044" sldId="1871"/>
            <ac:spMk id="84" creationId="{73300FEC-ED42-4B07-A579-2EC939F4E98B}"/>
          </ac:spMkLst>
        </pc:spChg>
        <pc:spChg chg="mod topLvl">
          <ac:chgData name="Mili Diengdoh" userId="4e667e83-9d62-4727-9cfb-ee24b16ffb56" providerId="ADAL" clId="{3C044092-C018-48CA-B25B-616345ED741B}" dt="2020-07-14T12:25:44.087" v="1114" actId="165"/>
          <ac:spMkLst>
            <pc:docMk/>
            <pc:sldMk cId="3665884044" sldId="1871"/>
            <ac:spMk id="87" creationId="{D5740B6C-6D17-4E88-83D9-7450D12D993D}"/>
          </ac:spMkLst>
        </pc:spChg>
        <pc:grpChg chg="add del mod">
          <ac:chgData name="Mili Diengdoh" userId="4e667e83-9d62-4727-9cfb-ee24b16ffb56" providerId="ADAL" clId="{3C044092-C018-48CA-B25B-616345ED741B}" dt="2020-07-14T12:25:44.087" v="1114" actId="165"/>
          <ac:grpSpMkLst>
            <pc:docMk/>
            <pc:sldMk cId="3665884044" sldId="1871"/>
            <ac:grpSpMk id="3" creationId="{1EB6B7C7-DACE-4678-8961-6D9665ACC5AE}"/>
          </ac:grpSpMkLst>
        </pc:grpChg>
        <pc:grpChg chg="add del mod">
          <ac:chgData name="Mili Diengdoh" userId="4e667e83-9d62-4727-9cfb-ee24b16ffb56" providerId="ADAL" clId="{3C044092-C018-48CA-B25B-616345ED741B}" dt="2020-07-14T12:25:44.087" v="1114" actId="165"/>
          <ac:grpSpMkLst>
            <pc:docMk/>
            <pc:sldMk cId="3665884044" sldId="1871"/>
            <ac:grpSpMk id="4" creationId="{6F526239-C41A-4E88-ADD3-85F855A70A20}"/>
          </ac:grpSpMkLst>
        </pc:grpChg>
        <pc:grpChg chg="add del mod">
          <ac:chgData name="Mili Diengdoh" userId="4e667e83-9d62-4727-9cfb-ee24b16ffb56" providerId="ADAL" clId="{3C044092-C018-48CA-B25B-616345ED741B}" dt="2020-07-14T12:25:44.087" v="1114" actId="165"/>
          <ac:grpSpMkLst>
            <pc:docMk/>
            <pc:sldMk cId="3665884044" sldId="1871"/>
            <ac:grpSpMk id="5" creationId="{B6C25193-EFD0-4520-9112-E80DBA558229}"/>
          </ac:grpSpMkLst>
        </pc:grpChg>
        <pc:grpChg chg="add del mod">
          <ac:chgData name="Mili Diengdoh" userId="4e667e83-9d62-4727-9cfb-ee24b16ffb56" providerId="ADAL" clId="{3C044092-C018-48CA-B25B-616345ED741B}" dt="2020-07-14T12:25:44.087" v="1114" actId="165"/>
          <ac:grpSpMkLst>
            <pc:docMk/>
            <pc:sldMk cId="3665884044" sldId="1871"/>
            <ac:grpSpMk id="6" creationId="{CDAD1118-6A77-41EE-B9F6-AC7790F624DA}"/>
          </ac:grpSpMkLst>
        </pc:grpChg>
        <pc:grpChg chg="add del mod">
          <ac:chgData name="Mili Diengdoh" userId="4e667e83-9d62-4727-9cfb-ee24b16ffb56" providerId="ADAL" clId="{3C044092-C018-48CA-B25B-616345ED741B}" dt="2020-07-14T12:25:44.087" v="1114" actId="165"/>
          <ac:grpSpMkLst>
            <pc:docMk/>
            <pc:sldMk cId="3665884044" sldId="1871"/>
            <ac:grpSpMk id="7" creationId="{7F01357B-6A8E-4EEF-90B0-E94B111EEB30}"/>
          </ac:grpSpMkLst>
        </pc:grpChg>
        <pc:grpChg chg="add del mod">
          <ac:chgData name="Mili Diengdoh" userId="4e667e83-9d62-4727-9cfb-ee24b16ffb56" providerId="ADAL" clId="{3C044092-C018-48CA-B25B-616345ED741B}" dt="2020-07-14T12:25:44.087" v="1114" actId="165"/>
          <ac:grpSpMkLst>
            <pc:docMk/>
            <pc:sldMk cId="3665884044" sldId="1871"/>
            <ac:grpSpMk id="8" creationId="{79AC2587-8FF2-4E96-B7D5-EA77DF2F0F40}"/>
          </ac:grpSpMkLst>
        </pc:grpChg>
        <pc:grpChg chg="add del mod">
          <ac:chgData name="Mili Diengdoh" userId="4e667e83-9d62-4727-9cfb-ee24b16ffb56" providerId="ADAL" clId="{3C044092-C018-48CA-B25B-616345ED741B}" dt="2020-07-14T12:25:44.087" v="1114" actId="165"/>
          <ac:grpSpMkLst>
            <pc:docMk/>
            <pc:sldMk cId="3665884044" sldId="1871"/>
            <ac:grpSpMk id="9" creationId="{3C55594C-8873-4BD1-8C3E-5B52BF6D3E54}"/>
          </ac:grpSpMkLst>
        </pc:grpChg>
        <pc:picChg chg="mod topLvl">
          <ac:chgData name="Mili Diengdoh" userId="4e667e83-9d62-4727-9cfb-ee24b16ffb56" providerId="ADAL" clId="{3C044092-C018-48CA-B25B-616345ED741B}" dt="2020-07-14T12:25:44.087" v="1114" actId="165"/>
          <ac:picMkLst>
            <pc:docMk/>
            <pc:sldMk cId="3665884044" sldId="1871"/>
            <ac:picMk id="73" creationId="{A2FE9072-C86D-48D7-A84C-B36ED42348AD}"/>
          </ac:picMkLst>
        </pc:picChg>
        <pc:picChg chg="mod topLvl">
          <ac:chgData name="Mili Diengdoh" userId="4e667e83-9d62-4727-9cfb-ee24b16ffb56" providerId="ADAL" clId="{3C044092-C018-48CA-B25B-616345ED741B}" dt="2020-07-14T12:25:44.087" v="1114" actId="165"/>
          <ac:picMkLst>
            <pc:docMk/>
            <pc:sldMk cId="3665884044" sldId="1871"/>
            <ac:picMk id="75" creationId="{E85AC611-9476-425E-A01E-F88133EAF5B3}"/>
          </ac:picMkLst>
        </pc:picChg>
        <pc:picChg chg="mod topLvl">
          <ac:chgData name="Mili Diengdoh" userId="4e667e83-9d62-4727-9cfb-ee24b16ffb56" providerId="ADAL" clId="{3C044092-C018-48CA-B25B-616345ED741B}" dt="2020-07-14T12:25:44.087" v="1114" actId="165"/>
          <ac:picMkLst>
            <pc:docMk/>
            <pc:sldMk cId="3665884044" sldId="1871"/>
            <ac:picMk id="77" creationId="{FF08A87E-CCCC-489C-A6F5-78191DE3C882}"/>
          </ac:picMkLst>
        </pc:picChg>
        <pc:picChg chg="mod topLvl">
          <ac:chgData name="Mili Diengdoh" userId="4e667e83-9d62-4727-9cfb-ee24b16ffb56" providerId="ADAL" clId="{3C044092-C018-48CA-B25B-616345ED741B}" dt="2020-07-14T12:25:44.087" v="1114" actId="165"/>
          <ac:picMkLst>
            <pc:docMk/>
            <pc:sldMk cId="3665884044" sldId="1871"/>
            <ac:picMk id="79" creationId="{982AC51F-663E-4265-8D14-3DE91DA7E062}"/>
          </ac:picMkLst>
        </pc:picChg>
        <pc:picChg chg="mod topLvl">
          <ac:chgData name="Mili Diengdoh" userId="4e667e83-9d62-4727-9cfb-ee24b16ffb56" providerId="ADAL" clId="{3C044092-C018-48CA-B25B-616345ED741B}" dt="2020-07-14T12:25:44.087" v="1114" actId="165"/>
          <ac:picMkLst>
            <pc:docMk/>
            <pc:sldMk cId="3665884044" sldId="1871"/>
            <ac:picMk id="81" creationId="{42D051CD-18B6-4416-82A6-58BB9B327C49}"/>
          </ac:picMkLst>
        </pc:picChg>
        <pc:picChg chg="mod topLvl">
          <ac:chgData name="Mili Diengdoh" userId="4e667e83-9d62-4727-9cfb-ee24b16ffb56" providerId="ADAL" clId="{3C044092-C018-48CA-B25B-616345ED741B}" dt="2020-07-14T12:25:44.087" v="1114" actId="165"/>
          <ac:picMkLst>
            <pc:docMk/>
            <pc:sldMk cId="3665884044" sldId="1871"/>
            <ac:picMk id="83" creationId="{A3D54FCC-4DF7-4EB9-AE5F-85D41B9D4865}"/>
          </ac:picMkLst>
        </pc:picChg>
        <pc:picChg chg="mod topLvl">
          <ac:chgData name="Mili Diengdoh" userId="4e667e83-9d62-4727-9cfb-ee24b16ffb56" providerId="ADAL" clId="{3C044092-C018-48CA-B25B-616345ED741B}" dt="2020-07-14T12:25:44.087" v="1114" actId="165"/>
          <ac:picMkLst>
            <pc:docMk/>
            <pc:sldMk cId="3665884044" sldId="1871"/>
            <ac:picMk id="85" creationId="{CA213B12-FC55-47F5-A0DF-3DEB36B7EBAA}"/>
          </ac:picMkLst>
        </pc:picChg>
        <pc:cxnChg chg="add del mod">
          <ac:chgData name="Mili Diengdoh" userId="4e667e83-9d62-4727-9cfb-ee24b16ffb56" providerId="ADAL" clId="{3C044092-C018-48CA-B25B-616345ED741B}" dt="2020-07-14T12:25:16.487" v="1094"/>
          <ac:cxnSpMkLst>
            <pc:docMk/>
            <pc:sldMk cId="3665884044" sldId="1871"/>
            <ac:cxnSpMk id="24" creationId="{BCB02E91-4ED8-4C1C-B637-85660F702039}"/>
          </ac:cxnSpMkLst>
        </pc:cxnChg>
        <pc:cxnChg chg="add mod">
          <ac:chgData name="Mili Diengdoh" userId="4e667e83-9d62-4727-9cfb-ee24b16ffb56" providerId="ADAL" clId="{3C044092-C018-48CA-B25B-616345ED741B}" dt="2020-07-14T12:25:15.358" v="1091" actId="571"/>
          <ac:cxnSpMkLst>
            <pc:docMk/>
            <pc:sldMk cId="3665884044" sldId="1871"/>
            <ac:cxnSpMk id="26" creationId="{324D820D-169D-4AA1-B1E6-BEE92F69540A}"/>
          </ac:cxnSpMkLst>
        </pc:cxnChg>
        <pc:cxnChg chg="add mod">
          <ac:chgData name="Mili Diengdoh" userId="4e667e83-9d62-4727-9cfb-ee24b16ffb56" providerId="ADAL" clId="{3C044092-C018-48CA-B25B-616345ED741B}" dt="2020-07-14T12:25:32.846" v="1108" actId="13244"/>
          <ac:cxnSpMkLst>
            <pc:docMk/>
            <pc:sldMk cId="3665884044" sldId="1871"/>
            <ac:cxnSpMk id="27" creationId="{D0F68274-8E7A-48C4-8A9D-3DD7F387C11D}"/>
          </ac:cxnSpMkLst>
        </pc:cxnChg>
        <pc:cxnChg chg="add mod">
          <ac:chgData name="Mili Diengdoh" userId="4e667e83-9d62-4727-9cfb-ee24b16ffb56" providerId="ADAL" clId="{3C044092-C018-48CA-B25B-616345ED741B}" dt="2020-07-14T12:25:35.162" v="1109" actId="13244"/>
          <ac:cxnSpMkLst>
            <pc:docMk/>
            <pc:sldMk cId="3665884044" sldId="1871"/>
            <ac:cxnSpMk id="29" creationId="{B7094E26-8C93-42B7-99F3-1D7CAAF1ECAC}"/>
          </ac:cxnSpMkLst>
        </pc:cxnChg>
        <pc:cxnChg chg="add mod">
          <ac:chgData name="Mili Diengdoh" userId="4e667e83-9d62-4727-9cfb-ee24b16ffb56" providerId="ADAL" clId="{3C044092-C018-48CA-B25B-616345ED741B}" dt="2020-07-14T12:25:36.553" v="1110" actId="13244"/>
          <ac:cxnSpMkLst>
            <pc:docMk/>
            <pc:sldMk cId="3665884044" sldId="1871"/>
            <ac:cxnSpMk id="30" creationId="{6ADD5252-68AA-4C2D-8411-A73FFCB911B6}"/>
          </ac:cxnSpMkLst>
        </pc:cxnChg>
        <pc:cxnChg chg="add mod">
          <ac:chgData name="Mili Diengdoh" userId="4e667e83-9d62-4727-9cfb-ee24b16ffb56" providerId="ADAL" clId="{3C044092-C018-48CA-B25B-616345ED741B}" dt="2020-07-14T12:25:38.223" v="1111" actId="13244"/>
          <ac:cxnSpMkLst>
            <pc:docMk/>
            <pc:sldMk cId="3665884044" sldId="1871"/>
            <ac:cxnSpMk id="31" creationId="{F024E719-956D-47A7-90F6-932E5F628CC3}"/>
          </ac:cxnSpMkLst>
        </pc:cxnChg>
        <pc:cxnChg chg="add mod">
          <ac:chgData name="Mili Diengdoh" userId="4e667e83-9d62-4727-9cfb-ee24b16ffb56" providerId="ADAL" clId="{3C044092-C018-48CA-B25B-616345ED741B}" dt="2020-07-14T12:25:39.632" v="1112" actId="13244"/>
          <ac:cxnSpMkLst>
            <pc:docMk/>
            <pc:sldMk cId="3665884044" sldId="1871"/>
            <ac:cxnSpMk id="32" creationId="{C9E6A0E5-D6BF-4488-B64B-A4311FB14DDF}"/>
          </ac:cxnSpMkLst>
        </pc:cxnChg>
        <pc:cxnChg chg="add mod">
          <ac:chgData name="Mili Diengdoh" userId="4e667e83-9d62-4727-9cfb-ee24b16ffb56" providerId="ADAL" clId="{3C044092-C018-48CA-B25B-616345ED741B}" dt="2020-07-14T12:25:40.744" v="1113" actId="13244"/>
          <ac:cxnSpMkLst>
            <pc:docMk/>
            <pc:sldMk cId="3665884044" sldId="1871"/>
            <ac:cxnSpMk id="33" creationId="{1D5E6AFF-94F6-4F2E-B3D5-5D980F1047B6}"/>
          </ac:cxnSpMkLst>
        </pc:cxnChg>
      </pc:sldChg>
      <pc:sldChg chg="addSp delSp modSp mod">
        <pc:chgData name="Mili Diengdoh" userId="4e667e83-9d62-4727-9cfb-ee24b16ffb56" providerId="ADAL" clId="{3C044092-C018-48CA-B25B-616345ED741B}" dt="2020-07-14T12:04:50.120" v="713" actId="14100"/>
        <pc:sldMkLst>
          <pc:docMk/>
          <pc:sldMk cId="2969652716" sldId="1909"/>
        </pc:sldMkLst>
        <pc:spChg chg="add del mod">
          <ac:chgData name="Mili Diengdoh" userId="4e667e83-9d62-4727-9cfb-ee24b16ffb56" providerId="ADAL" clId="{3C044092-C018-48CA-B25B-616345ED741B}" dt="2020-07-14T11:29:07.604" v="258"/>
          <ac:spMkLst>
            <pc:docMk/>
            <pc:sldMk cId="2969652716" sldId="1909"/>
            <ac:spMk id="2" creationId="{6BA9FE9F-5FB4-4B72-9D31-A70092EBEAD5}"/>
          </ac:spMkLst>
        </pc:spChg>
        <pc:spChg chg="mod">
          <ac:chgData name="Mili Diengdoh" userId="4e667e83-9d62-4727-9cfb-ee24b16ffb56" providerId="ADAL" clId="{3C044092-C018-48CA-B25B-616345ED741B}" dt="2020-07-14T11:29:07.604" v="258"/>
          <ac:spMkLst>
            <pc:docMk/>
            <pc:sldMk cId="2969652716" sldId="1909"/>
            <ac:spMk id="4" creationId="{0CD8665D-5A50-4F07-9D33-48CCD3FD74C7}"/>
          </ac:spMkLst>
        </pc:spChg>
        <pc:picChg chg="mod">
          <ac:chgData name="Mili Diengdoh" userId="4e667e83-9d62-4727-9cfb-ee24b16ffb56" providerId="ADAL" clId="{3C044092-C018-48CA-B25B-616345ED741B}" dt="2020-07-14T12:04:50.120" v="713" actId="14100"/>
          <ac:picMkLst>
            <pc:docMk/>
            <pc:sldMk cId="2969652716" sldId="1909"/>
            <ac:picMk id="3" creationId="{E318A819-CFD2-4CDE-967A-FF80F1397F3D}"/>
          </ac:picMkLst>
        </pc:picChg>
      </pc:sldChg>
      <pc:sldChg chg="addSp delSp modSp mod">
        <pc:chgData name="Mili Diengdoh" userId="4e667e83-9d62-4727-9cfb-ee24b16ffb56" providerId="ADAL" clId="{3C044092-C018-48CA-B25B-616345ED741B}" dt="2020-07-14T11:29:33.838" v="263" actId="14100"/>
        <pc:sldMkLst>
          <pc:docMk/>
          <pc:sldMk cId="3198846091" sldId="1912"/>
        </pc:sldMkLst>
        <pc:spChg chg="add del mod">
          <ac:chgData name="Mili Diengdoh" userId="4e667e83-9d62-4727-9cfb-ee24b16ffb56" providerId="ADAL" clId="{3C044092-C018-48CA-B25B-616345ED741B}" dt="2020-07-14T11:29:13.981" v="259"/>
          <ac:spMkLst>
            <pc:docMk/>
            <pc:sldMk cId="3198846091" sldId="1912"/>
            <ac:spMk id="2" creationId="{D39E4FA2-D2BE-4069-95FC-A9E653CE810B}"/>
          </ac:spMkLst>
        </pc:spChg>
        <pc:spChg chg="mod">
          <ac:chgData name="Mili Diengdoh" userId="4e667e83-9d62-4727-9cfb-ee24b16ffb56" providerId="ADAL" clId="{3C044092-C018-48CA-B25B-616345ED741B}" dt="2020-07-14T11:29:13.981" v="259"/>
          <ac:spMkLst>
            <pc:docMk/>
            <pc:sldMk cId="3198846091" sldId="1912"/>
            <ac:spMk id="4" creationId="{0CD8665D-5A50-4F07-9D33-48CCD3FD74C7}"/>
          </ac:spMkLst>
        </pc:spChg>
        <pc:picChg chg="mod">
          <ac:chgData name="Mili Diengdoh" userId="4e667e83-9d62-4727-9cfb-ee24b16ffb56" providerId="ADAL" clId="{3C044092-C018-48CA-B25B-616345ED741B}" dt="2020-07-14T11:29:33.838" v="263" actId="14100"/>
          <ac:picMkLst>
            <pc:docMk/>
            <pc:sldMk cId="3198846091" sldId="1912"/>
            <ac:picMk id="3" creationId="{F6DA0743-00B1-4C27-8265-AABACB262B70}"/>
          </ac:picMkLst>
        </pc:picChg>
      </pc:sldChg>
      <pc:sldChg chg="addSp delSp modSp mod">
        <pc:chgData name="Mili Diengdoh" userId="4e667e83-9d62-4727-9cfb-ee24b16ffb56" providerId="ADAL" clId="{3C044092-C018-48CA-B25B-616345ED741B}" dt="2020-07-14T11:29:28.341" v="262" actId="22"/>
        <pc:sldMkLst>
          <pc:docMk/>
          <pc:sldMk cId="2110664733" sldId="1913"/>
        </pc:sldMkLst>
        <pc:spChg chg="add del mod">
          <ac:chgData name="Mili Diengdoh" userId="4e667e83-9d62-4727-9cfb-ee24b16ffb56" providerId="ADAL" clId="{3C044092-C018-48CA-B25B-616345ED741B}" dt="2020-07-14T11:29:16.750" v="260"/>
          <ac:spMkLst>
            <pc:docMk/>
            <pc:sldMk cId="2110664733" sldId="1913"/>
            <ac:spMk id="3" creationId="{1271C8F5-0644-4838-AE6A-CDA8D1772FF6}"/>
          </ac:spMkLst>
        </pc:spChg>
        <pc:spChg chg="mod">
          <ac:chgData name="Mili Diengdoh" userId="4e667e83-9d62-4727-9cfb-ee24b16ffb56" providerId="ADAL" clId="{3C044092-C018-48CA-B25B-616345ED741B}" dt="2020-07-14T11:29:16.750" v="260"/>
          <ac:spMkLst>
            <pc:docMk/>
            <pc:sldMk cId="2110664733" sldId="1913"/>
            <ac:spMk id="4" creationId="{0CD8665D-5A50-4F07-9D33-48CCD3FD74C7}"/>
          </ac:spMkLst>
        </pc:spChg>
        <pc:picChg chg="del">
          <ac:chgData name="Mili Diengdoh" userId="4e667e83-9d62-4727-9cfb-ee24b16ffb56" providerId="ADAL" clId="{3C044092-C018-48CA-B25B-616345ED741B}" dt="2020-07-14T11:29:20.188" v="261" actId="478"/>
          <ac:picMkLst>
            <pc:docMk/>
            <pc:sldMk cId="2110664733" sldId="1913"/>
            <ac:picMk id="2" creationId="{714A7914-1FC8-451B-B923-58B885C4E204}"/>
          </ac:picMkLst>
        </pc:picChg>
        <pc:picChg chg="add">
          <ac:chgData name="Mili Diengdoh" userId="4e667e83-9d62-4727-9cfb-ee24b16ffb56" providerId="ADAL" clId="{3C044092-C018-48CA-B25B-616345ED741B}" dt="2020-07-14T11:29:28.341" v="262" actId="22"/>
          <ac:picMkLst>
            <pc:docMk/>
            <pc:sldMk cId="2110664733" sldId="1913"/>
            <ac:picMk id="6" creationId="{79DA49A5-9A72-4157-A6DC-36BEBB411653}"/>
          </ac:picMkLst>
        </pc:picChg>
      </pc:sldChg>
      <pc:sldChg chg="addSp delSp modSp mod">
        <pc:chgData name="Mili Diengdoh" userId="4e667e83-9d62-4727-9cfb-ee24b16ffb56" providerId="ADAL" clId="{3C044092-C018-48CA-B25B-616345ED741B}" dt="2020-07-14T12:05:28.321" v="729" actId="478"/>
        <pc:sldMkLst>
          <pc:docMk/>
          <pc:sldMk cId="2122675882" sldId="1915"/>
        </pc:sldMkLst>
        <pc:spChg chg="add del mod">
          <ac:chgData name="Mili Diengdoh" userId="4e667e83-9d62-4727-9cfb-ee24b16ffb56" providerId="ADAL" clId="{3C044092-C018-48CA-B25B-616345ED741B}" dt="2020-07-14T12:05:28.321" v="729" actId="478"/>
          <ac:spMkLst>
            <pc:docMk/>
            <pc:sldMk cId="2122675882" sldId="1915"/>
            <ac:spMk id="4" creationId="{B4FF1163-3799-42E4-B940-35376CE03EE6}"/>
          </ac:spMkLst>
        </pc:spChg>
        <pc:spChg chg="mod">
          <ac:chgData name="Mili Diengdoh" userId="4e667e83-9d62-4727-9cfb-ee24b16ffb56" providerId="ADAL" clId="{3C044092-C018-48CA-B25B-616345ED741B}" dt="2020-07-14T12:04:58.822" v="718" actId="1076"/>
          <ac:spMkLst>
            <pc:docMk/>
            <pc:sldMk cId="2122675882" sldId="1915"/>
            <ac:spMk id="17" creationId="{6CBB3385-482C-43E5-BE80-42447A71A8D4}"/>
          </ac:spMkLst>
        </pc:spChg>
        <pc:spChg chg="mod">
          <ac:chgData name="Mili Diengdoh" userId="4e667e83-9d62-4727-9cfb-ee24b16ffb56" providerId="ADAL" clId="{3C044092-C018-48CA-B25B-616345ED741B}" dt="2020-07-14T12:05:26.178" v="728" actId="552"/>
          <ac:spMkLst>
            <pc:docMk/>
            <pc:sldMk cId="2122675882" sldId="1915"/>
            <ac:spMk id="20" creationId="{C6A7215A-1280-419B-860B-B27C61890923}"/>
          </ac:spMkLst>
        </pc:spChg>
        <pc:picChg chg="add del mod">
          <ac:chgData name="Mili Diengdoh" userId="4e667e83-9d62-4727-9cfb-ee24b16ffb56" providerId="ADAL" clId="{3C044092-C018-48CA-B25B-616345ED741B}" dt="2020-07-14T12:05:15.234" v="724" actId="478"/>
          <ac:picMkLst>
            <pc:docMk/>
            <pc:sldMk cId="2122675882" sldId="1915"/>
            <ac:picMk id="3" creationId="{1AA064EB-0C37-482B-A8CE-576570DB4BA9}"/>
          </ac:picMkLst>
        </pc:picChg>
        <pc:picChg chg="mod">
          <ac:chgData name="Mili Diengdoh" userId="4e667e83-9d62-4727-9cfb-ee24b16ffb56" providerId="ADAL" clId="{3C044092-C018-48CA-B25B-616345ED741B}" dt="2020-07-14T12:05:13.793" v="723" actId="14100"/>
          <ac:picMkLst>
            <pc:docMk/>
            <pc:sldMk cId="2122675882" sldId="1915"/>
            <ac:picMk id="19" creationId="{2228953A-8867-4D73-A948-D5A5B24F6961}"/>
          </ac:picMkLst>
        </pc:picChg>
      </pc:sldChg>
      <pc:sldChg chg="addSp delSp modSp mod">
        <pc:chgData name="Mili Diengdoh" userId="4e667e83-9d62-4727-9cfb-ee24b16ffb56" providerId="ADAL" clId="{3C044092-C018-48CA-B25B-616345ED741B}" dt="2020-07-14T12:05:58.683" v="741" actId="478"/>
        <pc:sldMkLst>
          <pc:docMk/>
          <pc:sldMk cId="1383309642" sldId="1916"/>
        </pc:sldMkLst>
        <pc:spChg chg="add mod">
          <ac:chgData name="Mili Diengdoh" userId="4e667e83-9d62-4727-9cfb-ee24b16ffb56" providerId="ADAL" clId="{3C044092-C018-48CA-B25B-616345ED741B}" dt="2020-07-14T12:05:44.335" v="735"/>
          <ac:spMkLst>
            <pc:docMk/>
            <pc:sldMk cId="1383309642" sldId="1916"/>
            <ac:spMk id="5" creationId="{DC1947C2-971C-4ADC-81AA-B39276CBE669}"/>
          </ac:spMkLst>
        </pc:spChg>
        <pc:spChg chg="del mod">
          <ac:chgData name="Mili Diengdoh" userId="4e667e83-9d62-4727-9cfb-ee24b16ffb56" providerId="ADAL" clId="{3C044092-C018-48CA-B25B-616345ED741B}" dt="2020-07-14T12:05:45.837" v="736" actId="478"/>
          <ac:spMkLst>
            <pc:docMk/>
            <pc:sldMk cId="1383309642" sldId="1916"/>
            <ac:spMk id="6" creationId="{71206D36-9B64-4EF8-AB37-61734725ACB5}"/>
          </ac:spMkLst>
        </pc:spChg>
        <pc:spChg chg="mod">
          <ac:chgData name="Mili Diengdoh" userId="4e667e83-9d62-4727-9cfb-ee24b16ffb56" providerId="ADAL" clId="{3C044092-C018-48CA-B25B-616345ED741B}" dt="2020-07-14T12:05:51.948" v="740" actId="1076"/>
          <ac:spMkLst>
            <pc:docMk/>
            <pc:sldMk cId="1383309642" sldId="1916"/>
            <ac:spMk id="13" creationId="{63447DC5-67F7-4275-B7F0-9186EF33CA7B}"/>
          </ac:spMkLst>
        </pc:spChg>
        <pc:picChg chg="del">
          <ac:chgData name="Mili Diengdoh" userId="4e667e83-9d62-4727-9cfb-ee24b16ffb56" providerId="ADAL" clId="{3C044092-C018-48CA-B25B-616345ED741B}" dt="2020-07-14T12:05:58.683" v="741" actId="478"/>
          <ac:picMkLst>
            <pc:docMk/>
            <pc:sldMk cId="1383309642" sldId="1916"/>
            <ac:picMk id="3" creationId="{08E283C1-FDAF-476C-899C-127AF90D3D83}"/>
          </ac:picMkLst>
        </pc:picChg>
        <pc:picChg chg="add">
          <ac:chgData name="Mili Diengdoh" userId="4e667e83-9d62-4727-9cfb-ee24b16ffb56" providerId="ADAL" clId="{3C044092-C018-48CA-B25B-616345ED741B}" dt="2020-07-14T12:05:35.892" v="730" actId="22"/>
          <ac:picMkLst>
            <pc:docMk/>
            <pc:sldMk cId="1383309642" sldId="1916"/>
            <ac:picMk id="4" creationId="{6DA89143-C3EE-41D0-8408-214FF26AEF22}"/>
          </ac:picMkLst>
        </pc:picChg>
      </pc:sldChg>
      <pc:sldChg chg="addSp modSp mod">
        <pc:chgData name="Mili Diengdoh" userId="4e667e83-9d62-4727-9cfb-ee24b16ffb56" providerId="ADAL" clId="{3C044092-C018-48CA-B25B-616345ED741B}" dt="2020-07-14T12:27:06.311" v="1141" actId="13244"/>
        <pc:sldMkLst>
          <pc:docMk/>
          <pc:sldMk cId="1801735399" sldId="1917"/>
        </pc:sldMkLst>
        <pc:spChg chg="add mod">
          <ac:chgData name="Mili Diengdoh" userId="4e667e83-9d62-4727-9cfb-ee24b16ffb56" providerId="ADAL" clId="{3C044092-C018-48CA-B25B-616345ED741B}" dt="2020-07-14T12:27:06.311" v="1141" actId="13244"/>
          <ac:spMkLst>
            <pc:docMk/>
            <pc:sldMk cId="1801735399" sldId="1917"/>
            <ac:spMk id="5" creationId="{9B64FB36-1A1E-4330-A042-15884D13529D}"/>
          </ac:spMkLst>
        </pc:spChg>
        <pc:spChg chg="mod">
          <ac:chgData name="Mili Diengdoh" userId="4e667e83-9d62-4727-9cfb-ee24b16ffb56" providerId="ADAL" clId="{3C044092-C018-48CA-B25B-616345ED741B}" dt="2020-07-14T12:26:58.539" v="1139" actId="403"/>
          <ac:spMkLst>
            <pc:docMk/>
            <pc:sldMk cId="1801735399" sldId="1917"/>
            <ac:spMk id="6" creationId="{BCEDA91E-F715-4FF8-A6FD-E5FC23FA6F0E}"/>
          </ac:spMkLst>
        </pc:spChg>
        <pc:spChg chg="add mod">
          <ac:chgData name="Mili Diengdoh" userId="4e667e83-9d62-4727-9cfb-ee24b16ffb56" providerId="ADAL" clId="{3C044092-C018-48CA-B25B-616345ED741B}" dt="2020-07-14T12:27:06.311" v="1141" actId="13244"/>
          <ac:spMkLst>
            <pc:docMk/>
            <pc:sldMk cId="1801735399" sldId="1917"/>
            <ac:spMk id="9" creationId="{2F5B608C-2D7F-4084-9F8A-3C0EDD11A365}"/>
          </ac:spMkLst>
        </pc:spChg>
        <pc:spChg chg="add mod">
          <ac:chgData name="Mili Diengdoh" userId="4e667e83-9d62-4727-9cfb-ee24b16ffb56" providerId="ADAL" clId="{3C044092-C018-48CA-B25B-616345ED741B}" dt="2020-07-14T12:27:06.311" v="1141" actId="13244"/>
          <ac:spMkLst>
            <pc:docMk/>
            <pc:sldMk cId="1801735399" sldId="1917"/>
            <ac:spMk id="11" creationId="{28B7A35C-8E03-42B5-81F7-C3736CC99B15}"/>
          </ac:spMkLst>
        </pc:spChg>
        <pc:spChg chg="add mod">
          <ac:chgData name="Mili Diengdoh" userId="4e667e83-9d62-4727-9cfb-ee24b16ffb56" providerId="ADAL" clId="{3C044092-C018-48CA-B25B-616345ED741B}" dt="2020-07-14T12:27:06.311" v="1141" actId="13244"/>
          <ac:spMkLst>
            <pc:docMk/>
            <pc:sldMk cId="1801735399" sldId="1917"/>
            <ac:spMk id="13" creationId="{64FD3657-00C1-4E3E-94CC-D964C4FF9459}"/>
          </ac:spMkLst>
        </pc:spChg>
      </pc:sldChg>
      <pc:sldChg chg="addSp delSp modSp mod">
        <pc:chgData name="Mili Diengdoh" userId="4e667e83-9d62-4727-9cfb-ee24b16ffb56" providerId="ADAL" clId="{3C044092-C018-48CA-B25B-616345ED741B}" dt="2020-07-14T12:07:57.841" v="792"/>
        <pc:sldMkLst>
          <pc:docMk/>
          <pc:sldMk cId="2201763488" sldId="1918"/>
        </pc:sldMkLst>
        <pc:spChg chg="mod topLvl">
          <ac:chgData name="Mili Diengdoh" userId="4e667e83-9d62-4727-9cfb-ee24b16ffb56" providerId="ADAL" clId="{3C044092-C018-48CA-B25B-616345ED741B}" dt="2020-07-14T12:07:14.796" v="771" actId="165"/>
          <ac:spMkLst>
            <pc:docMk/>
            <pc:sldMk cId="2201763488" sldId="1918"/>
            <ac:spMk id="5" creationId="{ADE23048-93A3-4125-8313-9DDD49076315}"/>
          </ac:spMkLst>
        </pc:spChg>
        <pc:spChg chg="mod topLvl">
          <ac:chgData name="Mili Diengdoh" userId="4e667e83-9d62-4727-9cfb-ee24b16ffb56" providerId="ADAL" clId="{3C044092-C018-48CA-B25B-616345ED741B}" dt="2020-07-14T12:07:14.796" v="771" actId="165"/>
          <ac:spMkLst>
            <pc:docMk/>
            <pc:sldMk cId="2201763488" sldId="1918"/>
            <ac:spMk id="6" creationId="{F332CE28-6350-4E66-ABBA-371CBB613068}"/>
          </ac:spMkLst>
        </pc:spChg>
        <pc:spChg chg="mod">
          <ac:chgData name="Mili Diengdoh" userId="4e667e83-9d62-4727-9cfb-ee24b16ffb56" providerId="ADAL" clId="{3C044092-C018-48CA-B25B-616345ED741B}" dt="2020-07-14T12:07:08.300" v="770" actId="692"/>
          <ac:spMkLst>
            <pc:docMk/>
            <pc:sldMk cId="2201763488" sldId="1918"/>
            <ac:spMk id="10" creationId="{24435EC6-C9A1-407F-A49A-68A73A71E4C9}"/>
          </ac:spMkLst>
        </pc:spChg>
        <pc:spChg chg="mod">
          <ac:chgData name="Mili Diengdoh" userId="4e667e83-9d62-4727-9cfb-ee24b16ffb56" providerId="ADAL" clId="{3C044092-C018-48CA-B25B-616345ED741B}" dt="2020-07-14T12:07:57.841" v="792"/>
          <ac:spMkLst>
            <pc:docMk/>
            <pc:sldMk cId="2201763488" sldId="1918"/>
            <ac:spMk id="13" creationId="{09B353B8-EB24-4C9B-974B-B56F9BF8F222}"/>
          </ac:spMkLst>
        </pc:spChg>
        <pc:spChg chg="mod">
          <ac:chgData name="Mili Diengdoh" userId="4e667e83-9d62-4727-9cfb-ee24b16ffb56" providerId="ADAL" clId="{3C044092-C018-48CA-B25B-616345ED741B}" dt="2020-07-14T12:07:08.300" v="770" actId="692"/>
          <ac:spMkLst>
            <pc:docMk/>
            <pc:sldMk cId="2201763488" sldId="1918"/>
            <ac:spMk id="26" creationId="{584C81E9-D628-4BF4-862A-35D36CA601F5}"/>
          </ac:spMkLst>
        </pc:spChg>
        <pc:spChg chg="mod">
          <ac:chgData name="Mili Diengdoh" userId="4e667e83-9d62-4727-9cfb-ee24b16ffb56" providerId="ADAL" clId="{3C044092-C018-48CA-B25B-616345ED741B}" dt="2020-07-14T12:07:08.300" v="770" actId="692"/>
          <ac:spMkLst>
            <pc:docMk/>
            <pc:sldMk cId="2201763488" sldId="1918"/>
            <ac:spMk id="27" creationId="{A7F2E35F-77F6-4EC5-AEC0-1DFD4A8183C0}"/>
          </ac:spMkLst>
        </pc:spChg>
        <pc:grpChg chg="add del mod">
          <ac:chgData name="Mili Diengdoh" userId="4e667e83-9d62-4727-9cfb-ee24b16ffb56" providerId="ADAL" clId="{3C044092-C018-48CA-B25B-616345ED741B}" dt="2020-07-14T12:07:14.796" v="771" actId="165"/>
          <ac:grpSpMkLst>
            <pc:docMk/>
            <pc:sldMk cId="2201763488" sldId="1918"/>
            <ac:grpSpMk id="3" creationId="{3FD9977D-440D-49BA-A7E1-233E49FE826A}"/>
          </ac:grpSpMkLst>
        </pc:grpChg>
      </pc:sldChg>
      <pc:sldChg chg="addSp delSp modSp mod">
        <pc:chgData name="Mili Diengdoh" userId="4e667e83-9d62-4727-9cfb-ee24b16ffb56" providerId="ADAL" clId="{3C044092-C018-48CA-B25B-616345ED741B}" dt="2020-07-14T11:29:00.756" v="256"/>
        <pc:sldMkLst>
          <pc:docMk/>
          <pc:sldMk cId="1617877780" sldId="1939"/>
        </pc:sldMkLst>
        <pc:spChg chg="add del mod">
          <ac:chgData name="Mili Diengdoh" userId="4e667e83-9d62-4727-9cfb-ee24b16ffb56" providerId="ADAL" clId="{3C044092-C018-48CA-B25B-616345ED741B}" dt="2020-07-14T11:29:00.756" v="256"/>
          <ac:spMkLst>
            <pc:docMk/>
            <pc:sldMk cId="1617877780" sldId="1939"/>
            <ac:spMk id="3" creationId="{A104F2D2-FD0C-4B9B-A664-34336EC6A8CC}"/>
          </ac:spMkLst>
        </pc:spChg>
        <pc:spChg chg="mod">
          <ac:chgData name="Mili Diengdoh" userId="4e667e83-9d62-4727-9cfb-ee24b16ffb56" providerId="ADAL" clId="{3C044092-C018-48CA-B25B-616345ED741B}" dt="2020-07-14T11:29:00.756" v="256"/>
          <ac:spMkLst>
            <pc:docMk/>
            <pc:sldMk cId="1617877780" sldId="1939"/>
            <ac:spMk id="4" creationId="{0CD8665D-5A50-4F07-9D33-48CCD3FD74C7}"/>
          </ac:spMkLst>
        </pc:spChg>
        <pc:picChg chg="add">
          <ac:chgData name="Mili Diengdoh" userId="4e667e83-9d62-4727-9cfb-ee24b16ffb56" providerId="ADAL" clId="{3C044092-C018-48CA-B25B-616345ED741B}" dt="2020-07-14T11:10:24.385" v="1" actId="22"/>
          <ac:picMkLst>
            <pc:docMk/>
            <pc:sldMk cId="1617877780" sldId="1939"/>
            <ac:picMk id="2" creationId="{6EF11033-F145-45ED-9B07-7C9B7A4A082A}"/>
          </ac:picMkLst>
        </pc:picChg>
        <pc:picChg chg="del">
          <ac:chgData name="Mili Diengdoh" userId="4e667e83-9d62-4727-9cfb-ee24b16ffb56" providerId="ADAL" clId="{3C044092-C018-48CA-B25B-616345ED741B}" dt="2020-07-14T11:10:23.884" v="0" actId="478"/>
          <ac:picMkLst>
            <pc:docMk/>
            <pc:sldMk cId="1617877780" sldId="1939"/>
            <ac:picMk id="5" creationId="{631FB690-BAB3-4C7E-B487-466AEC932A1F}"/>
          </ac:picMkLst>
        </pc:picChg>
      </pc:sldChg>
      <pc:sldChg chg="addSp delSp modSp del mod modClrScheme chgLayout">
        <pc:chgData name="Mili Diengdoh" userId="4e667e83-9d62-4727-9cfb-ee24b16ffb56" providerId="ADAL" clId="{3C044092-C018-48CA-B25B-616345ED741B}" dt="2020-07-14T11:19:22.563" v="218" actId="47"/>
        <pc:sldMkLst>
          <pc:docMk/>
          <pc:sldMk cId="1796562944" sldId="1940"/>
        </pc:sldMkLst>
        <pc:spChg chg="mod ord">
          <ac:chgData name="Mili Diengdoh" userId="4e667e83-9d62-4727-9cfb-ee24b16ffb56" providerId="ADAL" clId="{3C044092-C018-48CA-B25B-616345ED741B}" dt="2020-07-14T11:10:32.126" v="3"/>
          <ac:spMkLst>
            <pc:docMk/>
            <pc:sldMk cId="1796562944" sldId="1940"/>
            <ac:spMk id="2" creationId="{D0161B9C-B4A1-4E8B-BDD0-8D4B9DE9519A}"/>
          </ac:spMkLst>
        </pc:spChg>
        <pc:spChg chg="add del mod">
          <ac:chgData name="Mili Diengdoh" userId="4e667e83-9d62-4727-9cfb-ee24b16ffb56" providerId="ADAL" clId="{3C044092-C018-48CA-B25B-616345ED741B}" dt="2020-07-14T11:10:32.126" v="3"/>
          <ac:spMkLst>
            <pc:docMk/>
            <pc:sldMk cId="1796562944" sldId="1940"/>
            <ac:spMk id="3" creationId="{31DE0590-6D0F-4EEF-9BCE-CC46EB673F40}"/>
          </ac:spMkLst>
        </pc:spChg>
      </pc:sldChg>
      <pc:sldChg chg="addSp delSp modSp mod">
        <pc:chgData name="Mili Diengdoh" userId="4e667e83-9d62-4727-9cfb-ee24b16ffb56" providerId="ADAL" clId="{3C044092-C018-48CA-B25B-616345ED741B}" dt="2020-07-14T12:16:03.924" v="936"/>
        <pc:sldMkLst>
          <pc:docMk/>
          <pc:sldMk cId="591348677" sldId="1941"/>
        </pc:sldMkLst>
        <pc:spChg chg="mod">
          <ac:chgData name="Mili Diengdoh" userId="4e667e83-9d62-4727-9cfb-ee24b16ffb56" providerId="ADAL" clId="{3C044092-C018-48CA-B25B-616345ED741B}" dt="2020-07-14T11:22:59.945" v="237" actId="1076"/>
          <ac:spMkLst>
            <pc:docMk/>
            <pc:sldMk cId="591348677" sldId="1941"/>
            <ac:spMk id="4" creationId="{E187DEEA-C89F-4A10-AEF3-2022E07F0393}"/>
          </ac:spMkLst>
        </pc:spChg>
        <pc:spChg chg="add del mod ord">
          <ac:chgData name="Mili Diengdoh" userId="4e667e83-9d62-4727-9cfb-ee24b16ffb56" providerId="ADAL" clId="{3C044092-C018-48CA-B25B-616345ED741B}" dt="2020-07-14T12:16:03.924" v="936"/>
          <ac:spMkLst>
            <pc:docMk/>
            <pc:sldMk cId="591348677" sldId="1941"/>
            <ac:spMk id="5" creationId="{F60F4DB6-0630-4F06-A525-0C5F6FB402F6}"/>
          </ac:spMkLst>
        </pc:spChg>
        <pc:spChg chg="mod">
          <ac:chgData name="Mili Diengdoh" userId="4e667e83-9d62-4727-9cfb-ee24b16ffb56" providerId="ADAL" clId="{3C044092-C018-48CA-B25B-616345ED741B}" dt="2020-07-14T11:39:56.738" v="295"/>
          <ac:spMkLst>
            <pc:docMk/>
            <pc:sldMk cId="591348677" sldId="1941"/>
            <ac:spMk id="26" creationId="{6EE3A8A3-21A8-468E-A167-5A1FE82C3781}"/>
          </ac:spMkLst>
        </pc:spChg>
        <pc:spChg chg="mod">
          <ac:chgData name="Mili Diengdoh" userId="4e667e83-9d62-4727-9cfb-ee24b16ffb56" providerId="ADAL" clId="{3C044092-C018-48CA-B25B-616345ED741B}" dt="2020-07-14T12:14:45.898" v="901"/>
          <ac:spMkLst>
            <pc:docMk/>
            <pc:sldMk cId="591348677" sldId="1941"/>
            <ac:spMk id="28" creationId="{CD4A0247-631C-443D-97CF-3ECFEF80034D}"/>
          </ac:spMkLst>
        </pc:spChg>
        <pc:spChg chg="mod">
          <ac:chgData name="Mili Diengdoh" userId="4e667e83-9d62-4727-9cfb-ee24b16ffb56" providerId="ADAL" clId="{3C044092-C018-48CA-B25B-616345ED741B}" dt="2020-07-14T12:14:52.474" v="905"/>
          <ac:spMkLst>
            <pc:docMk/>
            <pc:sldMk cId="591348677" sldId="1941"/>
            <ac:spMk id="29" creationId="{A771632A-3806-48BF-A237-ABF0F3D2B254}"/>
          </ac:spMkLst>
        </pc:spChg>
        <pc:spChg chg="mod">
          <ac:chgData name="Mili Diengdoh" userId="4e667e83-9d62-4727-9cfb-ee24b16ffb56" providerId="ADAL" clId="{3C044092-C018-48CA-B25B-616345ED741B}" dt="2020-07-14T11:42:01.708" v="304" actId="12789"/>
          <ac:spMkLst>
            <pc:docMk/>
            <pc:sldMk cId="591348677" sldId="1941"/>
            <ac:spMk id="71" creationId="{27C301BF-9D46-44C8-A055-18088408385F}"/>
          </ac:spMkLst>
        </pc:spChg>
        <pc:spChg chg="mod">
          <ac:chgData name="Mili Diengdoh" userId="4e667e83-9d62-4727-9cfb-ee24b16ffb56" providerId="ADAL" clId="{3C044092-C018-48CA-B25B-616345ED741B}" dt="2020-07-14T11:42:07.195" v="305" actId="465"/>
          <ac:spMkLst>
            <pc:docMk/>
            <pc:sldMk cId="591348677" sldId="1941"/>
            <ac:spMk id="74" creationId="{89FD8D76-52AA-4B44-B5E7-A07C19C4A83D}"/>
          </ac:spMkLst>
        </pc:spChg>
        <pc:spChg chg="mod">
          <ac:chgData name="Mili Diengdoh" userId="4e667e83-9d62-4727-9cfb-ee24b16ffb56" providerId="ADAL" clId="{3C044092-C018-48CA-B25B-616345ED741B}" dt="2020-07-14T11:42:07.195" v="305" actId="465"/>
          <ac:spMkLst>
            <pc:docMk/>
            <pc:sldMk cId="591348677" sldId="1941"/>
            <ac:spMk id="77" creationId="{2B178F0A-D602-4E53-A4F4-C21C3FD78661}"/>
          </ac:spMkLst>
        </pc:spChg>
        <pc:spChg chg="mod">
          <ac:chgData name="Mili Diengdoh" userId="4e667e83-9d62-4727-9cfb-ee24b16ffb56" providerId="ADAL" clId="{3C044092-C018-48CA-B25B-616345ED741B}" dt="2020-07-14T11:42:07.195" v="305" actId="465"/>
          <ac:spMkLst>
            <pc:docMk/>
            <pc:sldMk cId="591348677" sldId="1941"/>
            <ac:spMk id="79" creationId="{67663F80-641B-4C52-8F62-E533B8367BC5}"/>
          </ac:spMkLst>
        </pc:spChg>
        <pc:spChg chg="mod">
          <ac:chgData name="Mili Diengdoh" userId="4e667e83-9d62-4727-9cfb-ee24b16ffb56" providerId="ADAL" clId="{3C044092-C018-48CA-B25B-616345ED741B}" dt="2020-07-14T11:42:07.195" v="305" actId="465"/>
          <ac:spMkLst>
            <pc:docMk/>
            <pc:sldMk cId="591348677" sldId="1941"/>
            <ac:spMk id="81" creationId="{1BDC5E8C-5788-42D3-9A02-1832E8956957}"/>
          </ac:spMkLst>
        </pc:spChg>
        <pc:spChg chg="mod">
          <ac:chgData name="Mili Diengdoh" userId="4e667e83-9d62-4727-9cfb-ee24b16ffb56" providerId="ADAL" clId="{3C044092-C018-48CA-B25B-616345ED741B}" dt="2020-07-14T11:42:07.195" v="305" actId="465"/>
          <ac:spMkLst>
            <pc:docMk/>
            <pc:sldMk cId="591348677" sldId="1941"/>
            <ac:spMk id="90" creationId="{8EDC3B3E-38CB-42DA-B994-0BAE5127D109}"/>
          </ac:spMkLst>
        </pc:spChg>
        <pc:spChg chg="mod">
          <ac:chgData name="Mili Diengdoh" userId="4e667e83-9d62-4727-9cfb-ee24b16ffb56" providerId="ADAL" clId="{3C044092-C018-48CA-B25B-616345ED741B}" dt="2020-07-14T11:42:00.004" v="303" actId="12789"/>
          <ac:spMkLst>
            <pc:docMk/>
            <pc:sldMk cId="591348677" sldId="1941"/>
            <ac:spMk id="92" creationId="{8E9525BD-703D-42DD-B24F-AE3BA4B6372B}"/>
          </ac:spMkLst>
        </pc:spChg>
        <pc:picChg chg="mod">
          <ac:chgData name="Mili Diengdoh" userId="4e667e83-9d62-4727-9cfb-ee24b16ffb56" providerId="ADAL" clId="{3C044092-C018-48CA-B25B-616345ED741B}" dt="2020-07-14T11:40:01.938" v="297"/>
          <ac:picMkLst>
            <pc:docMk/>
            <pc:sldMk cId="591348677" sldId="1941"/>
            <ac:picMk id="27" creationId="{5CF6776C-956C-41FB-B9CA-EFEB1BC9CDA0}"/>
          </ac:picMkLst>
        </pc:picChg>
        <pc:picChg chg="mod">
          <ac:chgData name="Mili Diengdoh" userId="4e667e83-9d62-4727-9cfb-ee24b16ffb56" providerId="ADAL" clId="{3C044092-C018-48CA-B25B-616345ED741B}" dt="2020-07-14T12:15:09.308" v="907"/>
          <ac:picMkLst>
            <pc:docMk/>
            <pc:sldMk cId="591348677" sldId="1941"/>
            <ac:picMk id="30" creationId="{B26410CF-B559-4C52-86FB-46ABBCFBAF0C}"/>
          </ac:picMkLst>
        </pc:picChg>
        <pc:picChg chg="mod">
          <ac:chgData name="Mili Diengdoh" userId="4e667e83-9d62-4727-9cfb-ee24b16ffb56" providerId="ADAL" clId="{3C044092-C018-48CA-B25B-616345ED741B}" dt="2020-07-14T12:15:57.405" v="935"/>
          <ac:picMkLst>
            <pc:docMk/>
            <pc:sldMk cId="591348677" sldId="1941"/>
            <ac:picMk id="31" creationId="{832B8504-4621-4786-A364-0E35270C266A}"/>
          </ac:picMkLst>
        </pc:picChg>
        <pc:picChg chg="mod">
          <ac:chgData name="Mili Diengdoh" userId="4e667e83-9d62-4727-9cfb-ee24b16ffb56" providerId="ADAL" clId="{3C044092-C018-48CA-B25B-616345ED741B}" dt="2020-07-14T12:16:03.924" v="936"/>
          <ac:picMkLst>
            <pc:docMk/>
            <pc:sldMk cId="591348677" sldId="1941"/>
            <ac:picMk id="32" creationId="{AB1214F9-75C9-4443-8B03-BF592F9A965B}"/>
          </ac:picMkLst>
        </pc:picChg>
        <pc:picChg chg="mod">
          <ac:chgData name="Mili Diengdoh" userId="4e667e83-9d62-4727-9cfb-ee24b16ffb56" providerId="ADAL" clId="{3C044092-C018-48CA-B25B-616345ED741B}" dt="2020-07-14T11:42:01.708" v="304" actId="12789"/>
          <ac:picMkLst>
            <pc:docMk/>
            <pc:sldMk cId="591348677" sldId="1941"/>
            <ac:picMk id="70" creationId="{2485CC25-DAA5-418C-B702-A4C6A5369966}"/>
          </ac:picMkLst>
        </pc:picChg>
        <pc:picChg chg="mod">
          <ac:chgData name="Mili Diengdoh" userId="4e667e83-9d62-4727-9cfb-ee24b16ffb56" providerId="ADAL" clId="{3C044092-C018-48CA-B25B-616345ED741B}" dt="2020-07-14T11:41:57.581" v="302" actId="465"/>
          <ac:picMkLst>
            <pc:docMk/>
            <pc:sldMk cId="591348677" sldId="1941"/>
            <ac:picMk id="72" creationId="{B1B1F4A4-7EC6-4E1D-90FE-36EF57A9E2E4}"/>
          </ac:picMkLst>
        </pc:picChg>
        <pc:picChg chg="mod">
          <ac:chgData name="Mili Diengdoh" userId="4e667e83-9d62-4727-9cfb-ee24b16ffb56" providerId="ADAL" clId="{3C044092-C018-48CA-B25B-616345ED741B}" dt="2020-07-14T11:41:57.581" v="302" actId="465"/>
          <ac:picMkLst>
            <pc:docMk/>
            <pc:sldMk cId="591348677" sldId="1941"/>
            <ac:picMk id="76" creationId="{A99E3B1C-72EC-43C0-9BC6-66847EBDFE44}"/>
          </ac:picMkLst>
        </pc:picChg>
        <pc:picChg chg="mod">
          <ac:chgData name="Mili Diengdoh" userId="4e667e83-9d62-4727-9cfb-ee24b16ffb56" providerId="ADAL" clId="{3C044092-C018-48CA-B25B-616345ED741B}" dt="2020-07-14T11:41:57.581" v="302" actId="465"/>
          <ac:picMkLst>
            <pc:docMk/>
            <pc:sldMk cId="591348677" sldId="1941"/>
            <ac:picMk id="78" creationId="{CC638140-DE3B-4AB1-88AD-29D009FF05DA}"/>
          </ac:picMkLst>
        </pc:picChg>
        <pc:picChg chg="add del mod">
          <ac:chgData name="Mili Diengdoh" userId="4e667e83-9d62-4727-9cfb-ee24b16ffb56" providerId="ADAL" clId="{3C044092-C018-48CA-B25B-616345ED741B}" dt="2020-07-14T12:16:03.924" v="936"/>
          <ac:picMkLst>
            <pc:docMk/>
            <pc:sldMk cId="591348677" sldId="1941"/>
            <ac:picMk id="80" creationId="{44171202-112C-4EF0-9093-FEA129FE5F07}"/>
          </ac:picMkLst>
        </pc:picChg>
        <pc:picChg chg="mod">
          <ac:chgData name="Mili Diengdoh" userId="4e667e83-9d62-4727-9cfb-ee24b16ffb56" providerId="ADAL" clId="{3C044092-C018-48CA-B25B-616345ED741B}" dt="2020-07-14T11:41:57.581" v="302" actId="465"/>
          <ac:picMkLst>
            <pc:docMk/>
            <pc:sldMk cId="591348677" sldId="1941"/>
            <ac:picMk id="82" creationId="{F64354C7-6A41-4069-B221-06CBE19DA77B}"/>
          </ac:picMkLst>
        </pc:picChg>
        <pc:picChg chg="mod">
          <ac:chgData name="Mili Diengdoh" userId="4e667e83-9d62-4727-9cfb-ee24b16ffb56" providerId="ADAL" clId="{3C044092-C018-48CA-B25B-616345ED741B}" dt="2020-07-14T11:42:00.004" v="303" actId="12789"/>
          <ac:picMkLst>
            <pc:docMk/>
            <pc:sldMk cId="591348677" sldId="1941"/>
            <ac:picMk id="91" creationId="{30A70166-ED6B-4BDA-A8CB-642182D5A077}"/>
          </ac:picMkLst>
        </pc:picChg>
        <pc:cxnChg chg="add mod">
          <ac:chgData name="Mili Diengdoh" userId="4e667e83-9d62-4727-9cfb-ee24b16ffb56" providerId="ADAL" clId="{3C044092-C018-48CA-B25B-616345ED741B}" dt="2020-07-14T11:42:34.907" v="306" actId="13244"/>
          <ac:cxnSpMkLst>
            <pc:docMk/>
            <pc:sldMk cId="591348677" sldId="1941"/>
            <ac:cxnSpMk id="18" creationId="{8C35B81A-491C-42F8-874F-13B44EE9281A}"/>
          </ac:cxnSpMkLst>
        </pc:cxnChg>
        <pc:cxnChg chg="add mod">
          <ac:chgData name="Mili Diengdoh" userId="4e667e83-9d62-4727-9cfb-ee24b16ffb56" providerId="ADAL" clId="{3C044092-C018-48CA-B25B-616345ED741B}" dt="2020-07-14T11:42:41.546" v="307" actId="13244"/>
          <ac:cxnSpMkLst>
            <pc:docMk/>
            <pc:sldMk cId="591348677" sldId="1941"/>
            <ac:cxnSpMk id="20" creationId="{6182C732-CBBB-4A5A-833F-EC1047B7813E}"/>
          </ac:cxnSpMkLst>
        </pc:cxnChg>
        <pc:cxnChg chg="add mod">
          <ac:chgData name="Mili Diengdoh" userId="4e667e83-9d62-4727-9cfb-ee24b16ffb56" providerId="ADAL" clId="{3C044092-C018-48CA-B25B-616345ED741B}" dt="2020-07-14T11:42:43.082" v="308" actId="13244"/>
          <ac:cxnSpMkLst>
            <pc:docMk/>
            <pc:sldMk cId="591348677" sldId="1941"/>
            <ac:cxnSpMk id="21" creationId="{D12F2B9E-82FE-4895-BAD9-87436DBCA0D6}"/>
          </ac:cxnSpMkLst>
        </pc:cxnChg>
        <pc:cxnChg chg="add mod">
          <ac:chgData name="Mili Diengdoh" userId="4e667e83-9d62-4727-9cfb-ee24b16ffb56" providerId="ADAL" clId="{3C044092-C018-48CA-B25B-616345ED741B}" dt="2020-07-14T11:42:44.530" v="309" actId="13244"/>
          <ac:cxnSpMkLst>
            <pc:docMk/>
            <pc:sldMk cId="591348677" sldId="1941"/>
            <ac:cxnSpMk id="22" creationId="{B615E248-BD55-4C6F-8932-138A1C36097B}"/>
          </ac:cxnSpMkLst>
        </pc:cxnChg>
        <pc:cxnChg chg="add mod">
          <ac:chgData name="Mili Diengdoh" userId="4e667e83-9d62-4727-9cfb-ee24b16ffb56" providerId="ADAL" clId="{3C044092-C018-48CA-B25B-616345ED741B}" dt="2020-07-14T11:42:45.892" v="310" actId="13244"/>
          <ac:cxnSpMkLst>
            <pc:docMk/>
            <pc:sldMk cId="591348677" sldId="1941"/>
            <ac:cxnSpMk id="23" creationId="{4F16E1EE-22A4-49A1-89E8-35F463CFAFEC}"/>
          </ac:cxnSpMkLst>
        </pc:cxnChg>
        <pc:cxnChg chg="add mod">
          <ac:chgData name="Mili Diengdoh" userId="4e667e83-9d62-4727-9cfb-ee24b16ffb56" providerId="ADAL" clId="{3C044092-C018-48CA-B25B-616345ED741B}" dt="2020-07-14T11:42:47.258" v="311" actId="13244"/>
          <ac:cxnSpMkLst>
            <pc:docMk/>
            <pc:sldMk cId="591348677" sldId="1941"/>
            <ac:cxnSpMk id="24" creationId="{49E31CAD-0681-4EF2-95C9-1A0B94E89AAF}"/>
          </ac:cxnSpMkLst>
        </pc:cxnChg>
      </pc:sldChg>
      <pc:sldChg chg="addSp delSp modSp mod">
        <pc:chgData name="Mili Diengdoh" userId="4e667e83-9d62-4727-9cfb-ee24b16ffb56" providerId="ADAL" clId="{3C044092-C018-48CA-B25B-616345ED741B}" dt="2020-07-14T11:43:14.036" v="313"/>
        <pc:sldMkLst>
          <pc:docMk/>
          <pc:sldMk cId="2402196036" sldId="1942"/>
        </pc:sldMkLst>
        <pc:spChg chg="add del mod">
          <ac:chgData name="Mili Diengdoh" userId="4e667e83-9d62-4727-9cfb-ee24b16ffb56" providerId="ADAL" clId="{3C044092-C018-48CA-B25B-616345ED741B}" dt="2020-07-14T11:28:58.573" v="255"/>
          <ac:spMkLst>
            <pc:docMk/>
            <pc:sldMk cId="2402196036" sldId="1942"/>
            <ac:spMk id="2" creationId="{8F7612AE-526A-4C29-B91C-D9D781159635}"/>
          </ac:spMkLst>
        </pc:spChg>
        <pc:spChg chg="mod">
          <ac:chgData name="Mili Diengdoh" userId="4e667e83-9d62-4727-9cfb-ee24b16ffb56" providerId="ADAL" clId="{3C044092-C018-48CA-B25B-616345ED741B}" dt="2020-07-14T11:43:14.036" v="313"/>
          <ac:spMkLst>
            <pc:docMk/>
            <pc:sldMk cId="2402196036" sldId="1942"/>
            <ac:spMk id="4" creationId="{0CD8665D-5A50-4F07-9D33-48CCD3FD74C7}"/>
          </ac:spMkLst>
        </pc:spChg>
        <pc:spChg chg="add del mod">
          <ac:chgData name="Mili Diengdoh" userId="4e667e83-9d62-4727-9cfb-ee24b16ffb56" providerId="ADAL" clId="{3C044092-C018-48CA-B25B-616345ED741B}" dt="2020-07-14T11:43:14.036" v="313"/>
          <ac:spMkLst>
            <pc:docMk/>
            <pc:sldMk cId="2402196036" sldId="1942"/>
            <ac:spMk id="5" creationId="{FEB3CEDD-6294-4009-8D99-E308937E35AE}"/>
          </ac:spMkLst>
        </pc:spChg>
        <pc:picChg chg="mod">
          <ac:chgData name="Mili Diengdoh" userId="4e667e83-9d62-4727-9cfb-ee24b16ffb56" providerId="ADAL" clId="{3C044092-C018-48CA-B25B-616345ED741B}" dt="2020-07-14T11:43:11.313" v="312" actId="14100"/>
          <ac:picMkLst>
            <pc:docMk/>
            <pc:sldMk cId="2402196036" sldId="1942"/>
            <ac:picMk id="3" creationId="{B89D6553-01D0-458A-A370-26C78EFEBC44}"/>
          </ac:picMkLst>
        </pc:picChg>
      </pc:sldChg>
      <pc:sldChg chg="modSp mod">
        <pc:chgData name="Mili Diengdoh" userId="4e667e83-9d62-4727-9cfb-ee24b16ffb56" providerId="ADAL" clId="{3C044092-C018-48CA-B25B-616345ED741B}" dt="2020-07-14T11:44:03.562" v="326" actId="14100"/>
        <pc:sldMkLst>
          <pc:docMk/>
          <pc:sldMk cId="1309834942" sldId="1943"/>
        </pc:sldMkLst>
        <pc:spChg chg="mod">
          <ac:chgData name="Mili Diengdoh" userId="4e667e83-9d62-4727-9cfb-ee24b16ffb56" providerId="ADAL" clId="{3C044092-C018-48CA-B25B-616345ED741B}" dt="2020-07-14T11:44:03.562" v="326" actId="14100"/>
          <ac:spMkLst>
            <pc:docMk/>
            <pc:sldMk cId="1309834942" sldId="1943"/>
            <ac:spMk id="9" creationId="{1AB8FABD-80F9-4396-BE4F-97FA84A5C605}"/>
          </ac:spMkLst>
        </pc:spChg>
        <pc:spChg chg="mod">
          <ac:chgData name="Mili Diengdoh" userId="4e667e83-9d62-4727-9cfb-ee24b16ffb56" providerId="ADAL" clId="{3C044092-C018-48CA-B25B-616345ED741B}" dt="2020-07-14T11:43:27.292" v="316" actId="1076"/>
          <ac:spMkLst>
            <pc:docMk/>
            <pc:sldMk cId="1309834942" sldId="1943"/>
            <ac:spMk id="15" creationId="{60BC454C-1CED-40FA-B429-5E2DBB126F2D}"/>
          </ac:spMkLst>
        </pc:spChg>
        <pc:picChg chg="mod">
          <ac:chgData name="Mili Diengdoh" userId="4e667e83-9d62-4727-9cfb-ee24b16ffb56" providerId="ADAL" clId="{3C044092-C018-48CA-B25B-616345ED741B}" dt="2020-07-14T11:44:00.436" v="325" actId="12789"/>
          <ac:picMkLst>
            <pc:docMk/>
            <pc:sldMk cId="1309834942" sldId="1943"/>
            <ac:picMk id="5" creationId="{D96BE544-D603-466B-8F44-9F5765160B8A}"/>
          </ac:picMkLst>
        </pc:picChg>
      </pc:sldChg>
      <pc:sldChg chg="addSp delSp modSp mod">
        <pc:chgData name="Mili Diengdoh" userId="4e667e83-9d62-4727-9cfb-ee24b16ffb56" providerId="ADAL" clId="{3C044092-C018-48CA-B25B-616345ED741B}" dt="2020-07-14T12:33:53.281" v="1155" actId="12789"/>
        <pc:sldMkLst>
          <pc:docMk/>
          <pc:sldMk cId="1091227316" sldId="1944"/>
        </pc:sldMkLst>
        <pc:spChg chg="add del mod">
          <ac:chgData name="Mili Diengdoh" userId="4e667e83-9d62-4727-9cfb-ee24b16ffb56" providerId="ADAL" clId="{3C044092-C018-48CA-B25B-616345ED741B}" dt="2020-07-14T12:18:08.958" v="961"/>
          <ac:spMkLst>
            <pc:docMk/>
            <pc:sldMk cId="1091227316" sldId="1944"/>
            <ac:spMk id="5" creationId="{16C306AD-EEA2-455E-B0D0-3EA3CB2F8AA2}"/>
          </ac:spMkLst>
        </pc:spChg>
        <pc:spChg chg="mod">
          <ac:chgData name="Mili Diengdoh" userId="4e667e83-9d62-4727-9cfb-ee24b16ffb56" providerId="ADAL" clId="{3C044092-C018-48CA-B25B-616345ED741B}" dt="2020-07-14T11:44:25.562" v="330" actId="554"/>
          <ac:spMkLst>
            <pc:docMk/>
            <pc:sldMk cId="1091227316" sldId="1944"/>
            <ac:spMk id="8" creationId="{7544243E-8E7B-4622-BB53-A2C02B6F26C0}"/>
          </ac:spMkLst>
        </pc:spChg>
        <pc:spChg chg="mod topLvl">
          <ac:chgData name="Mili Diengdoh" userId="4e667e83-9d62-4727-9cfb-ee24b16ffb56" providerId="ADAL" clId="{3C044092-C018-48CA-B25B-616345ED741B}" dt="2020-07-14T12:19:31.504" v="981" actId="164"/>
          <ac:spMkLst>
            <pc:docMk/>
            <pc:sldMk cId="1091227316" sldId="1944"/>
            <ac:spMk id="17" creationId="{BA3CA017-CF26-4D94-A789-559D1418357F}"/>
          </ac:spMkLst>
        </pc:spChg>
        <pc:spChg chg="mod topLvl">
          <ac:chgData name="Mili Diengdoh" userId="4e667e83-9d62-4727-9cfb-ee24b16ffb56" providerId="ADAL" clId="{3C044092-C018-48CA-B25B-616345ED741B}" dt="2020-07-14T12:19:31.504" v="981" actId="164"/>
          <ac:spMkLst>
            <pc:docMk/>
            <pc:sldMk cId="1091227316" sldId="1944"/>
            <ac:spMk id="18" creationId="{9044C4AF-FE35-4929-945A-A337AC691E1E}"/>
          </ac:spMkLst>
        </pc:spChg>
        <pc:spChg chg="mod">
          <ac:chgData name="Mili Diengdoh" userId="4e667e83-9d62-4727-9cfb-ee24b16ffb56" providerId="ADAL" clId="{3C044092-C018-48CA-B25B-616345ED741B}" dt="2020-07-14T12:33:51.454" v="1154" actId="12789"/>
          <ac:spMkLst>
            <pc:docMk/>
            <pc:sldMk cId="1091227316" sldId="1944"/>
            <ac:spMk id="45" creationId="{61B2E846-DB08-466E-8470-56F194457A97}"/>
          </ac:spMkLst>
        </pc:spChg>
        <pc:spChg chg="mod">
          <ac:chgData name="Mili Diengdoh" userId="4e667e83-9d62-4727-9cfb-ee24b16ffb56" providerId="ADAL" clId="{3C044092-C018-48CA-B25B-616345ED741B}" dt="2020-07-14T12:33:53.281" v="1155" actId="12789"/>
          <ac:spMkLst>
            <pc:docMk/>
            <pc:sldMk cId="1091227316" sldId="1944"/>
            <ac:spMk id="46" creationId="{BCE7C5D5-D840-4EA6-9A51-1BEE64B25B89}"/>
          </ac:spMkLst>
        </pc:spChg>
        <pc:grpChg chg="add del mod">
          <ac:chgData name="Mili Diengdoh" userId="4e667e83-9d62-4727-9cfb-ee24b16ffb56" providerId="ADAL" clId="{3C044092-C018-48CA-B25B-616345ED741B}" dt="2020-07-14T12:19:54.516" v="990" actId="21"/>
          <ac:grpSpMkLst>
            <pc:docMk/>
            <pc:sldMk cId="1091227316" sldId="1944"/>
            <ac:grpSpMk id="7" creationId="{7538EB79-F2C4-4FE0-BE91-1DADC0C30A85}"/>
          </ac:grpSpMkLst>
        </pc:grpChg>
        <pc:grpChg chg="add del mod">
          <ac:chgData name="Mili Diengdoh" userId="4e667e83-9d62-4727-9cfb-ee24b16ffb56" providerId="ADAL" clId="{3C044092-C018-48CA-B25B-616345ED741B}" dt="2020-07-14T12:18:46.250" v="967" actId="165"/>
          <ac:grpSpMkLst>
            <pc:docMk/>
            <pc:sldMk cId="1091227316" sldId="1944"/>
            <ac:grpSpMk id="16" creationId="{43B98FB0-F751-4C1F-95D0-C1AFD56F58BA}"/>
          </ac:grpSpMkLst>
        </pc:grpChg>
        <pc:picChg chg="add del mod">
          <ac:chgData name="Mili Diengdoh" userId="4e667e83-9d62-4727-9cfb-ee24b16ffb56" providerId="ADAL" clId="{3C044092-C018-48CA-B25B-616345ED741B}" dt="2020-07-14T12:19:47.970" v="989" actId="478"/>
          <ac:picMkLst>
            <pc:docMk/>
            <pc:sldMk cId="1091227316" sldId="1944"/>
            <ac:picMk id="6" creationId="{67E8F987-0B50-4200-AA9B-CCECAEB5F0D2}"/>
          </ac:picMkLst>
        </pc:picChg>
        <pc:picChg chg="add del">
          <ac:chgData name="Mili Diengdoh" userId="4e667e83-9d62-4727-9cfb-ee24b16ffb56" providerId="ADAL" clId="{3C044092-C018-48CA-B25B-616345ED741B}" dt="2020-07-14T12:19:36.684" v="983" actId="22"/>
          <ac:picMkLst>
            <pc:docMk/>
            <pc:sldMk cId="1091227316" sldId="1944"/>
            <ac:picMk id="10" creationId="{735B6983-BBB7-4794-AC94-BC2456B43105}"/>
          </ac:picMkLst>
        </pc:picChg>
        <pc:picChg chg="del mod">
          <ac:chgData name="Mili Diengdoh" userId="4e667e83-9d62-4727-9cfb-ee24b16ffb56" providerId="ADAL" clId="{3C044092-C018-48CA-B25B-616345ED741B}" dt="2020-07-14T12:19:43.982" v="987" actId="478"/>
          <ac:picMkLst>
            <pc:docMk/>
            <pc:sldMk cId="1091227316" sldId="1944"/>
            <ac:picMk id="11" creationId="{78FBED65-D093-4206-B0DA-A249E3287A9D}"/>
          </ac:picMkLst>
        </pc:picChg>
        <pc:picChg chg="mod">
          <ac:chgData name="Mili Diengdoh" userId="4e667e83-9d62-4727-9cfb-ee24b16ffb56" providerId="ADAL" clId="{3C044092-C018-48CA-B25B-616345ED741B}" dt="2020-07-14T12:33:53.281" v="1155" actId="12789"/>
          <ac:picMkLst>
            <pc:docMk/>
            <pc:sldMk cId="1091227316" sldId="1944"/>
            <ac:picMk id="12" creationId="{E5A7E5C7-7E34-41F1-8782-15AC39877BE7}"/>
          </ac:picMkLst>
        </pc:picChg>
        <pc:picChg chg="del mod">
          <ac:chgData name="Mili Diengdoh" userId="4e667e83-9d62-4727-9cfb-ee24b16ffb56" providerId="ADAL" clId="{3C044092-C018-48CA-B25B-616345ED741B}" dt="2020-07-14T12:18:08.958" v="961"/>
          <ac:picMkLst>
            <pc:docMk/>
            <pc:sldMk cId="1091227316" sldId="1944"/>
            <ac:picMk id="14" creationId="{308F6A84-2A4F-4150-9AE6-6ECEF30CF679}"/>
          </ac:picMkLst>
        </pc:picChg>
        <pc:picChg chg="mod">
          <ac:chgData name="Mili Diengdoh" userId="4e667e83-9d62-4727-9cfb-ee24b16ffb56" providerId="ADAL" clId="{3C044092-C018-48CA-B25B-616345ED741B}" dt="2020-07-14T12:33:51.454" v="1154" actId="12789"/>
          <ac:picMkLst>
            <pc:docMk/>
            <pc:sldMk cId="1091227316" sldId="1944"/>
            <ac:picMk id="15" creationId="{EEC9DA3E-20EA-43D5-80E8-C50C03599F2A}"/>
          </ac:picMkLst>
        </pc:picChg>
        <pc:picChg chg="add mod">
          <ac:chgData name="Mili Diengdoh" userId="4e667e83-9d62-4727-9cfb-ee24b16ffb56" providerId="ADAL" clId="{3C044092-C018-48CA-B25B-616345ED741B}" dt="2020-07-14T12:29:58.351" v="1145" actId="13244"/>
          <ac:picMkLst>
            <pc:docMk/>
            <pc:sldMk cId="1091227316" sldId="1944"/>
            <ac:picMk id="20" creationId="{A6E77589-E575-43DB-81A9-2CAD9F0D3691}"/>
          </ac:picMkLst>
        </pc:picChg>
        <pc:cxnChg chg="mod">
          <ac:chgData name="Mili Diengdoh" userId="4e667e83-9d62-4727-9cfb-ee24b16ffb56" providerId="ADAL" clId="{3C044092-C018-48CA-B25B-616345ED741B}" dt="2020-07-14T11:44:24.180" v="329" actId="14100"/>
          <ac:cxnSpMkLst>
            <pc:docMk/>
            <pc:sldMk cId="1091227316" sldId="1944"/>
            <ac:cxnSpMk id="21" creationId="{90299F12-77C2-4A4F-B1BA-DC3F7874C987}"/>
          </ac:cxnSpMkLst>
        </pc:cxnChg>
        <pc:cxnChg chg="mod">
          <ac:chgData name="Mili Diengdoh" userId="4e667e83-9d62-4727-9cfb-ee24b16ffb56" providerId="ADAL" clId="{3C044092-C018-48CA-B25B-616345ED741B}" dt="2020-07-14T11:44:24.180" v="329" actId="14100"/>
          <ac:cxnSpMkLst>
            <pc:docMk/>
            <pc:sldMk cId="1091227316" sldId="1944"/>
            <ac:cxnSpMk id="41" creationId="{FCCF6FB2-2624-4E78-9F4E-37B2472C2560}"/>
          </ac:cxnSpMkLst>
        </pc:cxnChg>
      </pc:sldChg>
      <pc:sldChg chg="addSp delSp modSp mod">
        <pc:chgData name="Mili Diengdoh" userId="4e667e83-9d62-4727-9cfb-ee24b16ffb56" providerId="ADAL" clId="{3C044092-C018-48CA-B25B-616345ED741B}" dt="2020-07-14T11:45:28.930" v="352" actId="1076"/>
        <pc:sldMkLst>
          <pc:docMk/>
          <pc:sldMk cId="3389964135" sldId="1945"/>
        </pc:sldMkLst>
        <pc:spChg chg="mod topLvl">
          <ac:chgData name="Mili Diengdoh" userId="4e667e83-9d62-4727-9cfb-ee24b16ffb56" providerId="ADAL" clId="{3C044092-C018-48CA-B25B-616345ED741B}" dt="2020-07-14T11:45:28.930" v="352" actId="1076"/>
          <ac:spMkLst>
            <pc:docMk/>
            <pc:sldMk cId="3389964135" sldId="1945"/>
            <ac:spMk id="38" creationId="{8B2B666E-5AC6-43F4-941C-D4B9053E9EAC}"/>
          </ac:spMkLst>
        </pc:spChg>
        <pc:spChg chg="mod topLvl">
          <ac:chgData name="Mili Diengdoh" userId="4e667e83-9d62-4727-9cfb-ee24b16ffb56" providerId="ADAL" clId="{3C044092-C018-48CA-B25B-616345ED741B}" dt="2020-07-14T11:45:28.930" v="352" actId="1076"/>
          <ac:spMkLst>
            <pc:docMk/>
            <pc:sldMk cId="3389964135" sldId="1945"/>
            <ac:spMk id="39" creationId="{01EEEE1F-7E86-462B-AFC3-733FED924611}"/>
          </ac:spMkLst>
        </pc:spChg>
        <pc:grpChg chg="add del mod">
          <ac:chgData name="Mili Diengdoh" userId="4e667e83-9d62-4727-9cfb-ee24b16ffb56" providerId="ADAL" clId="{3C044092-C018-48CA-B25B-616345ED741B}" dt="2020-07-14T11:44:56.858" v="341" actId="165"/>
          <ac:grpSpMkLst>
            <pc:docMk/>
            <pc:sldMk cId="3389964135" sldId="1945"/>
            <ac:grpSpMk id="3" creationId="{563DADEA-7795-408C-A264-C09176B68773}"/>
          </ac:grpSpMkLst>
        </pc:grpChg>
      </pc:sldChg>
      <pc:sldChg chg="delSp modSp mod">
        <pc:chgData name="Mili Diengdoh" userId="4e667e83-9d62-4727-9cfb-ee24b16ffb56" providerId="ADAL" clId="{3C044092-C018-48CA-B25B-616345ED741B}" dt="2020-07-14T12:46:12.652" v="1294" actId="962"/>
        <pc:sldMkLst>
          <pc:docMk/>
          <pc:sldMk cId="2496113293" sldId="1946"/>
        </pc:sldMkLst>
        <pc:spChg chg="del mod">
          <ac:chgData name="Mili Diengdoh" userId="4e667e83-9d62-4727-9cfb-ee24b16ffb56" providerId="ADAL" clId="{3C044092-C018-48CA-B25B-616345ED741B}" dt="2020-07-14T11:46:20.808" v="370" actId="478"/>
          <ac:spMkLst>
            <pc:docMk/>
            <pc:sldMk cId="2496113293" sldId="1946"/>
            <ac:spMk id="3" creationId="{DF303757-AE7D-45FF-97BC-3499A68152E2}"/>
          </ac:spMkLst>
        </pc:spChg>
        <pc:spChg chg="mod">
          <ac:chgData name="Mili Diengdoh" userId="4e667e83-9d62-4727-9cfb-ee24b16ffb56" providerId="ADAL" clId="{3C044092-C018-48CA-B25B-616345ED741B}" dt="2020-07-14T11:50:59.232" v="439" actId="255"/>
          <ac:spMkLst>
            <pc:docMk/>
            <pc:sldMk cId="2496113293" sldId="1946"/>
            <ac:spMk id="5" creationId="{6A65032E-C239-46AC-804F-8326EE47CF22}"/>
          </ac:spMkLst>
        </pc:spChg>
        <pc:spChg chg="del mod">
          <ac:chgData name="Mili Diengdoh" userId="4e667e83-9d62-4727-9cfb-ee24b16ffb56" providerId="ADAL" clId="{3C044092-C018-48CA-B25B-616345ED741B}" dt="2020-07-14T11:46:03.407" v="363" actId="478"/>
          <ac:spMkLst>
            <pc:docMk/>
            <pc:sldMk cId="2496113293" sldId="1946"/>
            <ac:spMk id="8" creationId="{0F7A2592-CAF0-4097-A667-4F24C51302E0}"/>
          </ac:spMkLst>
        </pc:spChg>
        <pc:picChg chg="mod modCrop">
          <ac:chgData name="Mili Diengdoh" userId="4e667e83-9d62-4727-9cfb-ee24b16ffb56" providerId="ADAL" clId="{3C044092-C018-48CA-B25B-616345ED741B}" dt="2020-07-14T12:46:12.652" v="1294" actId="962"/>
          <ac:picMkLst>
            <pc:docMk/>
            <pc:sldMk cId="2496113293" sldId="1946"/>
            <ac:picMk id="4" creationId="{5F47861D-292F-4FAA-A2F1-41DC31E37ECC}"/>
          </ac:picMkLst>
        </pc:picChg>
      </pc:sldChg>
      <pc:sldChg chg="modSp mod">
        <pc:chgData name="Mili Diengdoh" userId="4e667e83-9d62-4727-9cfb-ee24b16ffb56" providerId="ADAL" clId="{3C044092-C018-48CA-B25B-616345ED741B}" dt="2020-07-14T12:34:35.562" v="1156" actId="242"/>
        <pc:sldMkLst>
          <pc:docMk/>
          <pc:sldMk cId="397689141" sldId="1947"/>
        </pc:sldMkLst>
        <pc:spChg chg="mod">
          <ac:chgData name="Mili Diengdoh" userId="4e667e83-9d62-4727-9cfb-ee24b16ffb56" providerId="ADAL" clId="{3C044092-C018-48CA-B25B-616345ED741B}" dt="2020-07-14T11:49:57.375" v="428" actId="1076"/>
          <ac:spMkLst>
            <pc:docMk/>
            <pc:sldMk cId="397689141" sldId="1947"/>
            <ac:spMk id="4" creationId="{FD483274-C30B-45CD-B638-369AC843DEF0}"/>
          </ac:spMkLst>
        </pc:spChg>
        <pc:graphicFrameChg chg="mod modGraphic">
          <ac:chgData name="Mili Diengdoh" userId="4e667e83-9d62-4727-9cfb-ee24b16ffb56" providerId="ADAL" clId="{3C044092-C018-48CA-B25B-616345ED741B}" dt="2020-07-14T12:34:35.562" v="1156" actId="242"/>
          <ac:graphicFrameMkLst>
            <pc:docMk/>
            <pc:sldMk cId="397689141" sldId="1947"/>
            <ac:graphicFrameMk id="5" creationId="{BB2E8574-165F-401A-B5E3-4F49F153932F}"/>
          </ac:graphicFrameMkLst>
        </pc:graphicFrameChg>
      </pc:sldChg>
      <pc:sldChg chg="addSp delSp modSp mod">
        <pc:chgData name="Mili Diengdoh" userId="4e667e83-9d62-4727-9cfb-ee24b16ffb56" providerId="ADAL" clId="{3C044092-C018-48CA-B25B-616345ED741B}" dt="2020-07-14T12:49:17.982" v="1418" actId="962"/>
        <pc:sldMkLst>
          <pc:docMk/>
          <pc:sldMk cId="2103919476" sldId="1948"/>
        </pc:sldMkLst>
        <pc:spChg chg="mod">
          <ac:chgData name="Mili Diengdoh" userId="4e667e83-9d62-4727-9cfb-ee24b16ffb56" providerId="ADAL" clId="{3C044092-C018-48CA-B25B-616345ED741B}" dt="2020-07-14T11:50:21.625" v="432" actId="948"/>
          <ac:spMkLst>
            <pc:docMk/>
            <pc:sldMk cId="2103919476" sldId="1948"/>
            <ac:spMk id="4" creationId="{A350C712-DF90-48D7-AF99-33CA7708B8E6}"/>
          </ac:spMkLst>
        </pc:spChg>
        <pc:spChg chg="del">
          <ac:chgData name="Mili Diengdoh" userId="4e667e83-9d62-4727-9cfb-ee24b16ffb56" providerId="ADAL" clId="{3C044092-C018-48CA-B25B-616345ED741B}" dt="2020-07-14T11:48:58.318" v="415" actId="478"/>
          <ac:spMkLst>
            <pc:docMk/>
            <pc:sldMk cId="2103919476" sldId="1948"/>
            <ac:spMk id="5" creationId="{EA82368C-2441-4845-B8CB-71874CAC4346}"/>
          </ac:spMkLst>
        </pc:spChg>
        <pc:picChg chg="add mod">
          <ac:chgData name="Mili Diengdoh" userId="4e667e83-9d62-4727-9cfb-ee24b16ffb56" providerId="ADAL" clId="{3C044092-C018-48CA-B25B-616345ED741B}" dt="2020-07-14T12:49:17.982" v="1418" actId="962"/>
          <ac:picMkLst>
            <pc:docMk/>
            <pc:sldMk cId="2103919476" sldId="1948"/>
            <ac:picMk id="6" creationId="{C93E65B7-854C-40A9-B0E2-C208D2D64A97}"/>
          </ac:picMkLst>
        </pc:picChg>
        <pc:picChg chg="del">
          <ac:chgData name="Mili Diengdoh" userId="4e667e83-9d62-4727-9cfb-ee24b16ffb56" providerId="ADAL" clId="{3C044092-C018-48CA-B25B-616345ED741B}" dt="2020-07-14T11:48:48.318" v="409" actId="21"/>
          <ac:picMkLst>
            <pc:docMk/>
            <pc:sldMk cId="2103919476" sldId="1948"/>
            <ac:picMk id="7" creationId="{2A96F01E-97EA-4061-BD91-703C0FE85D95}"/>
          </ac:picMkLst>
        </pc:picChg>
      </pc:sldChg>
      <pc:sldChg chg="addSp delSp modSp mod">
        <pc:chgData name="Mili Diengdoh" userId="4e667e83-9d62-4727-9cfb-ee24b16ffb56" providerId="ADAL" clId="{3C044092-C018-48CA-B25B-616345ED741B}" dt="2020-07-14T11:51:14.939" v="441" actId="14100"/>
        <pc:sldMkLst>
          <pc:docMk/>
          <pc:sldMk cId="1024414060" sldId="1949"/>
        </pc:sldMkLst>
        <pc:spChg chg="add del mod">
          <ac:chgData name="Mili Diengdoh" userId="4e667e83-9d62-4727-9cfb-ee24b16ffb56" providerId="ADAL" clId="{3C044092-C018-48CA-B25B-616345ED741B}" dt="2020-07-14T11:28:55.646" v="254"/>
          <ac:spMkLst>
            <pc:docMk/>
            <pc:sldMk cId="1024414060" sldId="1949"/>
            <ac:spMk id="2" creationId="{76B134E2-AA26-45C7-8414-97713A70B092}"/>
          </ac:spMkLst>
        </pc:spChg>
        <pc:spChg chg="mod">
          <ac:chgData name="Mili Diengdoh" userId="4e667e83-9d62-4727-9cfb-ee24b16ffb56" providerId="ADAL" clId="{3C044092-C018-48CA-B25B-616345ED741B}" dt="2020-07-14T11:28:55.646" v="254"/>
          <ac:spMkLst>
            <pc:docMk/>
            <pc:sldMk cId="1024414060" sldId="1949"/>
            <ac:spMk id="4" creationId="{0CD8665D-5A50-4F07-9D33-48CCD3FD74C7}"/>
          </ac:spMkLst>
        </pc:spChg>
        <pc:picChg chg="mod">
          <ac:chgData name="Mili Diengdoh" userId="4e667e83-9d62-4727-9cfb-ee24b16ffb56" providerId="ADAL" clId="{3C044092-C018-48CA-B25B-616345ED741B}" dt="2020-07-14T11:51:14.939" v="441" actId="14100"/>
          <ac:picMkLst>
            <pc:docMk/>
            <pc:sldMk cId="1024414060" sldId="1949"/>
            <ac:picMk id="3" creationId="{E8D55B3C-B03B-43C6-94C9-0A65D2B8E6A5}"/>
          </ac:picMkLst>
        </pc:picChg>
      </pc:sldChg>
      <pc:sldChg chg="addSp delSp modSp mod">
        <pc:chgData name="Mili Diengdoh" userId="4e667e83-9d62-4727-9cfb-ee24b16ffb56" providerId="ADAL" clId="{3C044092-C018-48CA-B25B-616345ED741B}" dt="2020-07-14T12:30:10.774" v="1146" actId="13244"/>
        <pc:sldMkLst>
          <pc:docMk/>
          <pc:sldMk cId="2334485022" sldId="1950"/>
        </pc:sldMkLst>
        <pc:spChg chg="mod">
          <ac:chgData name="Mili Diengdoh" userId="4e667e83-9d62-4727-9cfb-ee24b16ffb56" providerId="ADAL" clId="{3C044092-C018-48CA-B25B-616345ED741B}" dt="2020-07-14T12:20:04.023" v="991"/>
          <ac:spMkLst>
            <pc:docMk/>
            <pc:sldMk cId="2334485022" sldId="1950"/>
            <ac:spMk id="10" creationId="{EBEB6DA2-9708-4E51-B1EA-991B994C7A8B}"/>
          </ac:spMkLst>
        </pc:spChg>
        <pc:spChg chg="mod">
          <ac:chgData name="Mili Diengdoh" userId="4e667e83-9d62-4727-9cfb-ee24b16ffb56" providerId="ADAL" clId="{3C044092-C018-48CA-B25B-616345ED741B}" dt="2020-07-14T12:20:04.023" v="991"/>
          <ac:spMkLst>
            <pc:docMk/>
            <pc:sldMk cId="2334485022" sldId="1950"/>
            <ac:spMk id="11" creationId="{1444CFE4-A36E-4A0E-8334-6B5A28A643CA}"/>
          </ac:spMkLst>
        </pc:spChg>
        <pc:spChg chg="mod">
          <ac:chgData name="Mili Diengdoh" userId="4e667e83-9d62-4727-9cfb-ee24b16ffb56" providerId="ADAL" clId="{3C044092-C018-48CA-B25B-616345ED741B}" dt="2020-07-14T11:51:48.727" v="446" actId="554"/>
          <ac:spMkLst>
            <pc:docMk/>
            <pc:sldMk cId="2334485022" sldId="1950"/>
            <ac:spMk id="44" creationId="{A6932B66-3911-43CD-BB70-13C6E830C9B9}"/>
          </ac:spMkLst>
        </pc:spChg>
        <pc:spChg chg="mod">
          <ac:chgData name="Mili Diengdoh" userId="4e667e83-9d62-4727-9cfb-ee24b16ffb56" providerId="ADAL" clId="{3C044092-C018-48CA-B25B-616345ED741B}" dt="2020-07-14T11:51:50.915" v="447" actId="12789"/>
          <ac:spMkLst>
            <pc:docMk/>
            <pc:sldMk cId="2334485022" sldId="1950"/>
            <ac:spMk id="66" creationId="{AD3F0406-9A7B-4F25-8A95-D14D93FCE9ED}"/>
          </ac:spMkLst>
        </pc:spChg>
        <pc:grpChg chg="add del mod">
          <ac:chgData name="Mili Diengdoh" userId="4e667e83-9d62-4727-9cfb-ee24b16ffb56" providerId="ADAL" clId="{3C044092-C018-48CA-B25B-616345ED741B}" dt="2020-07-14T12:21:16.811" v="1011" actId="21"/>
          <ac:grpSpMkLst>
            <pc:docMk/>
            <pc:sldMk cId="2334485022" sldId="1950"/>
            <ac:grpSpMk id="5" creationId="{9AC94DDA-38DC-4CE0-8B6A-AEA5F7A5C948}"/>
          </ac:grpSpMkLst>
        </pc:grpChg>
        <pc:grpChg chg="add mod">
          <ac:chgData name="Mili Diengdoh" userId="4e667e83-9d62-4727-9cfb-ee24b16ffb56" providerId="ADAL" clId="{3C044092-C018-48CA-B25B-616345ED741B}" dt="2020-07-14T12:20:24.310" v="1000" actId="164"/>
          <ac:grpSpMkLst>
            <pc:docMk/>
            <pc:sldMk cId="2334485022" sldId="1950"/>
            <ac:grpSpMk id="9" creationId="{CA2C2064-876E-4F50-B8C0-4878E6369373}"/>
          </ac:grpSpMkLst>
        </pc:grpChg>
        <pc:picChg chg="add mod">
          <ac:chgData name="Mili Diengdoh" userId="4e667e83-9d62-4727-9cfb-ee24b16ffb56" providerId="ADAL" clId="{3C044092-C018-48CA-B25B-616345ED741B}" dt="2020-07-14T12:20:24.310" v="1000" actId="164"/>
          <ac:picMkLst>
            <pc:docMk/>
            <pc:sldMk cId="2334485022" sldId="1950"/>
            <ac:picMk id="4" creationId="{6180249A-EF57-4DB0-BBB8-0303D68F00A7}"/>
          </ac:picMkLst>
        </pc:picChg>
        <pc:picChg chg="del mod">
          <ac:chgData name="Mili Diengdoh" userId="4e667e83-9d62-4727-9cfb-ee24b16ffb56" providerId="ADAL" clId="{3C044092-C018-48CA-B25B-616345ED741B}" dt="2020-07-14T12:20:38.670" v="1006" actId="478"/>
          <ac:picMkLst>
            <pc:docMk/>
            <pc:sldMk cId="2334485022" sldId="1950"/>
            <ac:picMk id="7" creationId="{017F32E6-DADD-4E15-B6F7-F552F843F3ED}"/>
          </ac:picMkLst>
        </pc:picChg>
        <pc:picChg chg="mod">
          <ac:chgData name="Mili Diengdoh" userId="4e667e83-9d62-4727-9cfb-ee24b16ffb56" providerId="ADAL" clId="{3C044092-C018-48CA-B25B-616345ED741B}" dt="2020-07-14T11:51:50.915" v="447" actId="12789"/>
          <ac:picMkLst>
            <pc:docMk/>
            <pc:sldMk cId="2334485022" sldId="1950"/>
            <ac:picMk id="8" creationId="{B00A6087-8C37-46CA-ADC9-DF73D8B175F3}"/>
          </ac:picMkLst>
        </pc:picChg>
        <pc:picChg chg="add mod">
          <ac:chgData name="Mili Diengdoh" userId="4e667e83-9d62-4727-9cfb-ee24b16ffb56" providerId="ADAL" clId="{3C044092-C018-48CA-B25B-616345ED741B}" dt="2020-07-14T12:30:10.774" v="1146" actId="13244"/>
          <ac:picMkLst>
            <pc:docMk/>
            <pc:sldMk cId="2334485022" sldId="1950"/>
            <ac:picMk id="13" creationId="{CD9CE989-9F04-4734-8128-89890BAA152B}"/>
          </ac:picMkLst>
        </pc:picChg>
        <pc:cxnChg chg="mod">
          <ac:chgData name="Mili Diengdoh" userId="4e667e83-9d62-4727-9cfb-ee24b16ffb56" providerId="ADAL" clId="{3C044092-C018-48CA-B25B-616345ED741B}" dt="2020-07-14T11:51:53.642" v="448" actId="465"/>
          <ac:cxnSpMkLst>
            <pc:docMk/>
            <pc:sldMk cId="2334485022" sldId="1950"/>
            <ac:cxnSpMk id="39" creationId="{EEF31729-A47D-4460-B5FF-28C9E0DE0B6D}"/>
          </ac:cxnSpMkLst>
        </pc:cxnChg>
      </pc:sldChg>
      <pc:sldChg chg="addSp delSp modSp mod chgLayout">
        <pc:chgData name="Mili Diengdoh" userId="4e667e83-9d62-4727-9cfb-ee24b16ffb56" providerId="ADAL" clId="{3C044092-C018-48CA-B25B-616345ED741B}" dt="2020-07-14T11:54:18.427" v="504" actId="403"/>
        <pc:sldMkLst>
          <pc:docMk/>
          <pc:sldMk cId="59849674" sldId="1951"/>
        </pc:sldMkLst>
        <pc:spChg chg="mod ord">
          <ac:chgData name="Mili Diengdoh" userId="4e667e83-9d62-4727-9cfb-ee24b16ffb56" providerId="ADAL" clId="{3C044092-C018-48CA-B25B-616345ED741B}" dt="2020-07-14T11:54:18.427" v="504" actId="403"/>
          <ac:spMkLst>
            <pc:docMk/>
            <pc:sldMk cId="59849674" sldId="1951"/>
            <ac:spMk id="2" creationId="{567112AF-7AE2-4197-9F38-40C40BC380CE}"/>
          </ac:spMkLst>
        </pc:spChg>
        <pc:spChg chg="del">
          <ac:chgData name="Mili Diengdoh" userId="4e667e83-9d62-4727-9cfb-ee24b16ffb56" providerId="ADAL" clId="{3C044092-C018-48CA-B25B-616345ED741B}" dt="2020-07-14T11:52:23.246" v="455" actId="478"/>
          <ac:spMkLst>
            <pc:docMk/>
            <pc:sldMk cId="59849674" sldId="1951"/>
            <ac:spMk id="3" creationId="{3EDF0A99-4084-43DC-8900-4FB8639AA70B}"/>
          </ac:spMkLst>
        </pc:spChg>
        <pc:spChg chg="mod">
          <ac:chgData name="Mili Diengdoh" userId="4e667e83-9d62-4727-9cfb-ee24b16ffb56" providerId="ADAL" clId="{3C044092-C018-48CA-B25B-616345ED741B}" dt="2020-07-14T11:54:01.833" v="500" actId="13244"/>
          <ac:spMkLst>
            <pc:docMk/>
            <pc:sldMk cId="59849674" sldId="1951"/>
            <ac:spMk id="4" creationId="{5187828C-4B03-43E6-BA79-BC497BBC890F}"/>
          </ac:spMkLst>
        </pc:spChg>
        <pc:spChg chg="mod topLvl">
          <ac:chgData name="Mili Diengdoh" userId="4e667e83-9d62-4727-9cfb-ee24b16ffb56" providerId="ADAL" clId="{3C044092-C018-48CA-B25B-616345ED741B}" dt="2020-07-14T11:53:41.272" v="490" actId="164"/>
          <ac:spMkLst>
            <pc:docMk/>
            <pc:sldMk cId="59849674" sldId="1951"/>
            <ac:spMk id="6" creationId="{97550E95-37FF-4791-A115-C049CF22EBE3}"/>
          </ac:spMkLst>
        </pc:spChg>
        <pc:spChg chg="mod">
          <ac:chgData name="Mili Diengdoh" userId="4e667e83-9d62-4727-9cfb-ee24b16ffb56" providerId="ADAL" clId="{3C044092-C018-48CA-B25B-616345ED741B}" dt="2020-07-14T11:53:26.602" v="486" actId="165"/>
          <ac:spMkLst>
            <pc:docMk/>
            <pc:sldMk cId="59849674" sldId="1951"/>
            <ac:spMk id="8" creationId="{7B75E851-CC06-428E-B515-A76A70E9D081}"/>
          </ac:spMkLst>
        </pc:spChg>
        <pc:spChg chg="mod">
          <ac:chgData name="Mili Diengdoh" userId="4e667e83-9d62-4727-9cfb-ee24b16ffb56" providerId="ADAL" clId="{3C044092-C018-48CA-B25B-616345ED741B}" dt="2020-07-14T11:53:26.602" v="486" actId="165"/>
          <ac:spMkLst>
            <pc:docMk/>
            <pc:sldMk cId="59849674" sldId="1951"/>
            <ac:spMk id="9" creationId="{C78DBA25-3A70-4E1E-BD2D-F226FA07195F}"/>
          </ac:spMkLst>
        </pc:spChg>
        <pc:spChg chg="mod">
          <ac:chgData name="Mili Diengdoh" userId="4e667e83-9d62-4727-9cfb-ee24b16ffb56" providerId="ADAL" clId="{3C044092-C018-48CA-B25B-616345ED741B}" dt="2020-07-14T11:53:26.602" v="486" actId="165"/>
          <ac:spMkLst>
            <pc:docMk/>
            <pc:sldMk cId="59849674" sldId="1951"/>
            <ac:spMk id="10" creationId="{1F830F2A-15E2-4B05-8768-15F0AD5263D2}"/>
          </ac:spMkLst>
        </pc:spChg>
        <pc:spChg chg="mod">
          <ac:chgData name="Mili Diengdoh" userId="4e667e83-9d62-4727-9cfb-ee24b16ffb56" providerId="ADAL" clId="{3C044092-C018-48CA-B25B-616345ED741B}" dt="2020-07-14T11:53:26.602" v="486" actId="165"/>
          <ac:spMkLst>
            <pc:docMk/>
            <pc:sldMk cId="59849674" sldId="1951"/>
            <ac:spMk id="11" creationId="{74EAE487-2885-4F64-88A5-96C5E63E4692}"/>
          </ac:spMkLst>
        </pc:spChg>
        <pc:spChg chg="add del mod">
          <ac:chgData name="Mili Diengdoh" userId="4e667e83-9d62-4727-9cfb-ee24b16ffb56" providerId="ADAL" clId="{3C044092-C018-48CA-B25B-616345ED741B}" dt="2020-07-14T11:52:53.399" v="466" actId="478"/>
          <ac:spMkLst>
            <pc:docMk/>
            <pc:sldMk cId="59849674" sldId="1951"/>
            <ac:spMk id="12" creationId="{335D2548-AB6F-4EC0-914A-DA466741EB30}"/>
          </ac:spMkLst>
        </pc:spChg>
        <pc:spChg chg="add mod">
          <ac:chgData name="Mili Diengdoh" userId="4e667e83-9d62-4727-9cfb-ee24b16ffb56" providerId="ADAL" clId="{3C044092-C018-48CA-B25B-616345ED741B}" dt="2020-07-14T11:54:08.133" v="502" actId="114"/>
          <ac:spMkLst>
            <pc:docMk/>
            <pc:sldMk cId="59849674" sldId="1951"/>
            <ac:spMk id="13" creationId="{632D7E5F-4850-41B8-9B31-85418745F29B}"/>
          </ac:spMkLst>
        </pc:spChg>
        <pc:grpChg chg="add del mod">
          <ac:chgData name="Mili Diengdoh" userId="4e667e83-9d62-4727-9cfb-ee24b16ffb56" providerId="ADAL" clId="{3C044092-C018-48CA-B25B-616345ED741B}" dt="2020-07-14T11:53:26.602" v="486" actId="165"/>
          <ac:grpSpMkLst>
            <pc:docMk/>
            <pc:sldMk cId="59849674" sldId="1951"/>
            <ac:grpSpMk id="5" creationId="{4B94AF99-ED0A-407B-A8B6-FAE38D541A45}"/>
          </ac:grpSpMkLst>
        </pc:grpChg>
        <pc:grpChg chg="mod topLvl">
          <ac:chgData name="Mili Diengdoh" userId="4e667e83-9d62-4727-9cfb-ee24b16ffb56" providerId="ADAL" clId="{3C044092-C018-48CA-B25B-616345ED741B}" dt="2020-07-14T11:53:41.272" v="490" actId="164"/>
          <ac:grpSpMkLst>
            <pc:docMk/>
            <pc:sldMk cId="59849674" sldId="1951"/>
            <ac:grpSpMk id="7" creationId="{3A98986C-6CD9-45AB-960F-4B3780546A69}"/>
          </ac:grpSpMkLst>
        </pc:grpChg>
        <pc:grpChg chg="add del mod">
          <ac:chgData name="Mili Diengdoh" userId="4e667e83-9d62-4727-9cfb-ee24b16ffb56" providerId="ADAL" clId="{3C044092-C018-48CA-B25B-616345ED741B}" dt="2020-07-14T11:53:51.279" v="496" actId="478"/>
          <ac:grpSpMkLst>
            <pc:docMk/>
            <pc:sldMk cId="59849674" sldId="1951"/>
            <ac:grpSpMk id="14" creationId="{2B5F05C4-28A1-4547-918F-753C657763E9}"/>
          </ac:grpSpMkLst>
        </pc:grpChg>
        <pc:picChg chg="add mod">
          <ac:chgData name="Mili Diengdoh" userId="4e667e83-9d62-4727-9cfb-ee24b16ffb56" providerId="ADAL" clId="{3C044092-C018-48CA-B25B-616345ED741B}" dt="2020-07-14T11:53:53.842" v="498" actId="13244"/>
          <ac:picMkLst>
            <pc:docMk/>
            <pc:sldMk cId="59849674" sldId="1951"/>
            <ac:picMk id="16" creationId="{698497F6-2819-4BA1-96FC-64D374D0C8E7}"/>
          </ac:picMkLst>
        </pc:picChg>
      </pc:sldChg>
      <pc:sldChg chg="addSp delSp modSp mod">
        <pc:chgData name="Mili Diengdoh" userId="4e667e83-9d62-4727-9cfb-ee24b16ffb56" providerId="ADAL" clId="{3C044092-C018-48CA-B25B-616345ED741B}" dt="2020-07-15T15:05:04.660" v="1442" actId="13244"/>
        <pc:sldMkLst>
          <pc:docMk/>
          <pc:sldMk cId="3981396567" sldId="1952"/>
        </pc:sldMkLst>
        <pc:spChg chg="mod topLvl">
          <ac:chgData name="Mili Diengdoh" userId="4e667e83-9d62-4727-9cfb-ee24b16ffb56" providerId="ADAL" clId="{3C044092-C018-48CA-B25B-616345ED741B}" dt="2020-07-14T11:55:57.476" v="543" actId="14100"/>
          <ac:spMkLst>
            <pc:docMk/>
            <pc:sldMk cId="3981396567" sldId="1952"/>
            <ac:spMk id="4" creationId="{A234402E-FD7C-4242-85EA-6ACAE732E2FD}"/>
          </ac:spMkLst>
        </pc:spChg>
        <pc:spChg chg="mod topLvl">
          <ac:chgData name="Mili Diengdoh" userId="4e667e83-9d62-4727-9cfb-ee24b16ffb56" providerId="ADAL" clId="{3C044092-C018-48CA-B25B-616345ED741B}" dt="2020-07-14T11:55:57.476" v="543" actId="14100"/>
          <ac:spMkLst>
            <pc:docMk/>
            <pc:sldMk cId="3981396567" sldId="1952"/>
            <ac:spMk id="5" creationId="{E5F7B95A-E382-451C-9D99-7C949FF25D44}"/>
          </ac:spMkLst>
        </pc:spChg>
        <pc:spChg chg="mod topLvl">
          <ac:chgData name="Mili Diengdoh" userId="4e667e83-9d62-4727-9cfb-ee24b16ffb56" providerId="ADAL" clId="{3C044092-C018-48CA-B25B-616345ED741B}" dt="2020-07-14T11:55:57.476" v="543" actId="14100"/>
          <ac:spMkLst>
            <pc:docMk/>
            <pc:sldMk cId="3981396567" sldId="1952"/>
            <ac:spMk id="6" creationId="{3C5F2AF5-E8F7-45BC-BF9D-59CA72BCEEED}"/>
          </ac:spMkLst>
        </pc:spChg>
        <pc:spChg chg="mod topLvl">
          <ac:chgData name="Mili Diengdoh" userId="4e667e83-9d62-4727-9cfb-ee24b16ffb56" providerId="ADAL" clId="{3C044092-C018-48CA-B25B-616345ED741B}" dt="2020-07-14T12:35:34.864" v="1163" actId="313"/>
          <ac:spMkLst>
            <pc:docMk/>
            <pc:sldMk cId="3981396567" sldId="1952"/>
            <ac:spMk id="7" creationId="{65DC0EC4-A80B-4D6F-8CAA-1A5F3AC8C3E5}"/>
          </ac:spMkLst>
        </pc:spChg>
        <pc:spChg chg="mod topLvl">
          <ac:chgData name="Mili Diengdoh" userId="4e667e83-9d62-4727-9cfb-ee24b16ffb56" providerId="ADAL" clId="{3C044092-C018-48CA-B25B-616345ED741B}" dt="2020-07-14T11:55:57.476" v="543" actId="14100"/>
          <ac:spMkLst>
            <pc:docMk/>
            <pc:sldMk cId="3981396567" sldId="1952"/>
            <ac:spMk id="8" creationId="{EFB2E42B-54CC-421B-93D2-35157FE21B23}"/>
          </ac:spMkLst>
        </pc:spChg>
        <pc:grpChg chg="add del mod">
          <ac:chgData name="Mili Diengdoh" userId="4e667e83-9d62-4727-9cfb-ee24b16ffb56" providerId="ADAL" clId="{3C044092-C018-48CA-B25B-616345ED741B}" dt="2020-07-14T11:55:38.479" v="538" actId="165"/>
          <ac:grpSpMkLst>
            <pc:docMk/>
            <pc:sldMk cId="3981396567" sldId="1952"/>
            <ac:grpSpMk id="3" creationId="{40DC9895-1B21-4F87-AC09-A454A2BB6F48}"/>
          </ac:grpSpMkLst>
        </pc:grpChg>
        <pc:grpChg chg="add del mod">
          <ac:chgData name="Mili Diengdoh" userId="4e667e83-9d62-4727-9cfb-ee24b16ffb56" providerId="ADAL" clId="{3C044092-C018-48CA-B25B-616345ED741B}" dt="2020-07-14T11:55:38.479" v="538" actId="165"/>
          <ac:grpSpMkLst>
            <pc:docMk/>
            <pc:sldMk cId="3981396567" sldId="1952"/>
            <ac:grpSpMk id="9" creationId="{CDCE8247-76F2-4023-BBD4-6A138AC5008F}"/>
          </ac:grpSpMkLst>
        </pc:grpChg>
        <pc:grpChg chg="add del mod">
          <ac:chgData name="Mili Diengdoh" userId="4e667e83-9d62-4727-9cfb-ee24b16ffb56" providerId="ADAL" clId="{3C044092-C018-48CA-B25B-616345ED741B}" dt="2020-07-14T11:55:38.479" v="538" actId="165"/>
          <ac:grpSpMkLst>
            <pc:docMk/>
            <pc:sldMk cId="3981396567" sldId="1952"/>
            <ac:grpSpMk id="10" creationId="{8CD5E9E6-9917-4DDB-A042-4AB9D127F011}"/>
          </ac:grpSpMkLst>
        </pc:grpChg>
        <pc:grpChg chg="add del mod">
          <ac:chgData name="Mili Diengdoh" userId="4e667e83-9d62-4727-9cfb-ee24b16ffb56" providerId="ADAL" clId="{3C044092-C018-48CA-B25B-616345ED741B}" dt="2020-07-14T11:55:38.479" v="538" actId="165"/>
          <ac:grpSpMkLst>
            <pc:docMk/>
            <pc:sldMk cId="3981396567" sldId="1952"/>
            <ac:grpSpMk id="11" creationId="{E87DAC91-AEC7-42CF-9BDB-DE32EBD55358}"/>
          </ac:grpSpMkLst>
        </pc:grpChg>
        <pc:grpChg chg="add del mod">
          <ac:chgData name="Mili Diengdoh" userId="4e667e83-9d62-4727-9cfb-ee24b16ffb56" providerId="ADAL" clId="{3C044092-C018-48CA-B25B-616345ED741B}" dt="2020-07-14T11:55:38.479" v="538" actId="165"/>
          <ac:grpSpMkLst>
            <pc:docMk/>
            <pc:sldMk cId="3981396567" sldId="1952"/>
            <ac:grpSpMk id="12" creationId="{4B7670A4-DCBC-40CF-8376-058D70546E1E}"/>
          </ac:grpSpMkLst>
        </pc:grpChg>
        <pc:picChg chg="add del mod ord">
          <ac:chgData name="Mili Diengdoh" userId="4e667e83-9d62-4727-9cfb-ee24b16ffb56" providerId="ADAL" clId="{3C044092-C018-48CA-B25B-616345ED741B}" dt="2020-07-15T15:04:57.333" v="1441" actId="478"/>
          <ac:picMkLst>
            <pc:docMk/>
            <pc:sldMk cId="3981396567" sldId="1952"/>
            <ac:picMk id="3" creationId="{599092EC-A67B-4B5D-AE78-00A855EB10EC}"/>
          </ac:picMkLst>
        </pc:picChg>
        <pc:picChg chg="add del">
          <ac:chgData name="Mili Diengdoh" userId="4e667e83-9d62-4727-9cfb-ee24b16ffb56" providerId="ADAL" clId="{3C044092-C018-48CA-B25B-616345ED741B}" dt="2020-07-15T15:04:38.371" v="1434" actId="22"/>
          <ac:picMkLst>
            <pc:docMk/>
            <pc:sldMk cId="3981396567" sldId="1952"/>
            <ac:picMk id="10" creationId="{ADD6B22C-824E-4BA9-9243-762701F7A3C2}"/>
          </ac:picMkLst>
        </pc:picChg>
        <pc:picChg chg="add mod">
          <ac:chgData name="Mili Diengdoh" userId="4e667e83-9d62-4727-9cfb-ee24b16ffb56" providerId="ADAL" clId="{3C044092-C018-48CA-B25B-616345ED741B}" dt="2020-07-15T15:05:04.660" v="1442" actId="13244"/>
          <ac:picMkLst>
            <pc:docMk/>
            <pc:sldMk cId="3981396567" sldId="1952"/>
            <ac:picMk id="12" creationId="{43B22573-61B9-433B-8102-80F113C55DC0}"/>
          </ac:picMkLst>
        </pc:picChg>
        <pc:picChg chg="add del mod">
          <ac:chgData name="Mili Diengdoh" userId="4e667e83-9d62-4727-9cfb-ee24b16ffb56" providerId="ADAL" clId="{3C044092-C018-48CA-B25B-616345ED741B}" dt="2020-07-15T15:04:27.956" v="1431" actId="478"/>
          <ac:picMkLst>
            <pc:docMk/>
            <pc:sldMk cId="3981396567" sldId="1952"/>
            <ac:picMk id="17" creationId="{E4E14898-A7DC-459D-8E10-7454F1D40B7F}"/>
          </ac:picMkLst>
        </pc:picChg>
        <pc:picChg chg="add del mod">
          <ac:chgData name="Mili Diengdoh" userId="4e667e83-9d62-4727-9cfb-ee24b16ffb56" providerId="ADAL" clId="{3C044092-C018-48CA-B25B-616345ED741B}" dt="2020-07-15T15:04:57.333" v="1441" actId="478"/>
          <ac:picMkLst>
            <pc:docMk/>
            <pc:sldMk cId="3981396567" sldId="1952"/>
            <ac:picMk id="23" creationId="{322F4A11-40FC-4956-9B1F-AE3849DC44BB}"/>
          </ac:picMkLst>
        </pc:picChg>
        <pc:picChg chg="mod topLvl">
          <ac:chgData name="Mili Diengdoh" userId="4e667e83-9d62-4727-9cfb-ee24b16ffb56" providerId="ADAL" clId="{3C044092-C018-48CA-B25B-616345ED741B}" dt="2020-07-14T11:55:38.479" v="538" actId="165"/>
          <ac:picMkLst>
            <pc:docMk/>
            <pc:sldMk cId="3981396567" sldId="1952"/>
            <ac:picMk id="40" creationId="{2B4CB5E3-E61C-4819-8148-3FD58770EFC6}"/>
          </ac:picMkLst>
        </pc:picChg>
        <pc:picChg chg="del mod topLvl">
          <ac:chgData name="Mili Diengdoh" userId="4e667e83-9d62-4727-9cfb-ee24b16ffb56" providerId="ADAL" clId="{3C044092-C018-48CA-B25B-616345ED741B}" dt="2020-07-15T15:04:45.617" v="1438" actId="478"/>
          <ac:picMkLst>
            <pc:docMk/>
            <pc:sldMk cId="3981396567" sldId="1952"/>
            <ac:picMk id="41" creationId="{74801417-2C95-4E60-A9AB-4B4188009320}"/>
          </ac:picMkLst>
        </pc:picChg>
        <pc:picChg chg="mod topLvl">
          <ac:chgData name="Mili Diengdoh" userId="4e667e83-9d62-4727-9cfb-ee24b16ffb56" providerId="ADAL" clId="{3C044092-C018-48CA-B25B-616345ED741B}" dt="2020-07-14T11:55:38.479" v="538" actId="165"/>
          <ac:picMkLst>
            <pc:docMk/>
            <pc:sldMk cId="3981396567" sldId="1952"/>
            <ac:picMk id="43" creationId="{0A516DB2-BD79-40E3-9312-6018B5DFF005}"/>
          </ac:picMkLst>
        </pc:picChg>
        <pc:picChg chg="mod topLvl">
          <ac:chgData name="Mili Diengdoh" userId="4e667e83-9d62-4727-9cfb-ee24b16ffb56" providerId="ADAL" clId="{3C044092-C018-48CA-B25B-616345ED741B}" dt="2020-07-14T11:55:38.479" v="538" actId="165"/>
          <ac:picMkLst>
            <pc:docMk/>
            <pc:sldMk cId="3981396567" sldId="1952"/>
            <ac:picMk id="46" creationId="{8BF0C6D0-8BB3-40C1-978E-65007C224951}"/>
          </ac:picMkLst>
        </pc:picChg>
        <pc:picChg chg="mod topLvl">
          <ac:chgData name="Mili Diengdoh" userId="4e667e83-9d62-4727-9cfb-ee24b16ffb56" providerId="ADAL" clId="{3C044092-C018-48CA-B25B-616345ED741B}" dt="2020-07-14T11:55:38.479" v="538" actId="165"/>
          <ac:picMkLst>
            <pc:docMk/>
            <pc:sldMk cId="3981396567" sldId="1952"/>
            <ac:picMk id="47" creationId="{CB660C30-7C86-4153-96A9-8B51A38A045A}"/>
          </ac:picMkLst>
        </pc:picChg>
        <pc:cxnChg chg="add mod">
          <ac:chgData name="Mili Diengdoh" userId="4e667e83-9d62-4727-9cfb-ee24b16ffb56" providerId="ADAL" clId="{3C044092-C018-48CA-B25B-616345ED741B}" dt="2020-07-14T11:55:42.833" v="539" actId="13244"/>
          <ac:cxnSpMkLst>
            <pc:docMk/>
            <pc:sldMk cId="3981396567" sldId="1952"/>
            <ac:cxnSpMk id="18" creationId="{21039F9E-D4AC-40CC-8BCF-6776A27D5335}"/>
          </ac:cxnSpMkLst>
        </pc:cxnChg>
        <pc:cxnChg chg="add mod">
          <ac:chgData name="Mili Diengdoh" userId="4e667e83-9d62-4727-9cfb-ee24b16ffb56" providerId="ADAL" clId="{3C044092-C018-48CA-B25B-616345ED741B}" dt="2020-07-14T11:55:44.218" v="540" actId="13244"/>
          <ac:cxnSpMkLst>
            <pc:docMk/>
            <pc:sldMk cId="3981396567" sldId="1952"/>
            <ac:cxnSpMk id="20" creationId="{D95C6E39-01D1-46AB-A167-C656818E4BD6}"/>
          </ac:cxnSpMkLst>
        </pc:cxnChg>
        <pc:cxnChg chg="add mod">
          <ac:chgData name="Mili Diengdoh" userId="4e667e83-9d62-4727-9cfb-ee24b16ffb56" providerId="ADAL" clId="{3C044092-C018-48CA-B25B-616345ED741B}" dt="2020-07-14T11:55:45.521" v="541" actId="13244"/>
          <ac:cxnSpMkLst>
            <pc:docMk/>
            <pc:sldMk cId="3981396567" sldId="1952"/>
            <ac:cxnSpMk id="21" creationId="{2C7EB4D8-CA92-41E8-8CE3-3AB4A9D88BDF}"/>
          </ac:cxnSpMkLst>
        </pc:cxnChg>
        <pc:cxnChg chg="add mod">
          <ac:chgData name="Mili Diengdoh" userId="4e667e83-9d62-4727-9cfb-ee24b16ffb56" providerId="ADAL" clId="{3C044092-C018-48CA-B25B-616345ED741B}" dt="2020-07-14T11:55:46.849" v="542" actId="13244"/>
          <ac:cxnSpMkLst>
            <pc:docMk/>
            <pc:sldMk cId="3981396567" sldId="1952"/>
            <ac:cxnSpMk id="22" creationId="{FBB9869A-0F53-4528-9DDA-A5BABDCF98A0}"/>
          </ac:cxnSpMkLst>
        </pc:cxnChg>
      </pc:sldChg>
      <pc:sldChg chg="addSp delSp modSp mod">
        <pc:chgData name="Mili Diengdoh" userId="4e667e83-9d62-4727-9cfb-ee24b16ffb56" providerId="ADAL" clId="{3C044092-C018-48CA-B25B-616345ED741B}" dt="2020-07-14T12:30:19.143" v="1147" actId="13244"/>
        <pc:sldMkLst>
          <pc:docMk/>
          <pc:sldMk cId="171335779" sldId="1953"/>
        </pc:sldMkLst>
        <pc:spChg chg="mod">
          <ac:chgData name="Mili Diengdoh" userId="4e667e83-9d62-4727-9cfb-ee24b16ffb56" providerId="ADAL" clId="{3C044092-C018-48CA-B25B-616345ED741B}" dt="2020-07-14T11:56:11.648" v="545" actId="255"/>
          <ac:spMkLst>
            <pc:docMk/>
            <pc:sldMk cId="171335779" sldId="1953"/>
            <ac:spMk id="3" creationId="{32ED5412-A196-4F91-BAF1-62726A9B073C}"/>
          </ac:spMkLst>
        </pc:spChg>
        <pc:spChg chg="mod">
          <ac:chgData name="Mili Diengdoh" userId="4e667e83-9d62-4727-9cfb-ee24b16ffb56" providerId="ADAL" clId="{3C044092-C018-48CA-B25B-616345ED741B}" dt="2020-07-14T12:21:27.877" v="1013" actId="165"/>
          <ac:spMkLst>
            <pc:docMk/>
            <pc:sldMk cId="171335779" sldId="1953"/>
            <ac:spMk id="18" creationId="{AF26CF43-6115-4A97-8DB4-E8D9671E9591}"/>
          </ac:spMkLst>
        </pc:spChg>
        <pc:spChg chg="mod">
          <ac:chgData name="Mili Diengdoh" userId="4e667e83-9d62-4727-9cfb-ee24b16ffb56" providerId="ADAL" clId="{3C044092-C018-48CA-B25B-616345ED741B}" dt="2020-07-14T12:21:27.877" v="1013" actId="165"/>
          <ac:spMkLst>
            <pc:docMk/>
            <pc:sldMk cId="171335779" sldId="1953"/>
            <ac:spMk id="19" creationId="{332DDBAF-AE00-4D28-B8E4-AD216CEA211E}"/>
          </ac:spMkLst>
        </pc:spChg>
        <pc:spChg chg="mod">
          <ac:chgData name="Mili Diengdoh" userId="4e667e83-9d62-4727-9cfb-ee24b16ffb56" providerId="ADAL" clId="{3C044092-C018-48CA-B25B-616345ED741B}" dt="2020-07-14T11:56:36.211" v="559" actId="12789"/>
          <ac:spMkLst>
            <pc:docMk/>
            <pc:sldMk cId="171335779" sldId="1953"/>
            <ac:spMk id="58" creationId="{178D6D2F-4F6F-477F-AD34-EF08B47BBA11}"/>
          </ac:spMkLst>
        </pc:spChg>
        <pc:spChg chg="mod">
          <ac:chgData name="Mili Diengdoh" userId="4e667e83-9d62-4727-9cfb-ee24b16ffb56" providerId="ADAL" clId="{3C044092-C018-48CA-B25B-616345ED741B}" dt="2020-07-14T11:56:34.610" v="558" actId="12789"/>
          <ac:spMkLst>
            <pc:docMk/>
            <pc:sldMk cId="171335779" sldId="1953"/>
            <ac:spMk id="59" creationId="{08FAD90B-19D5-4558-BCC5-B2DE7E689EE1}"/>
          </ac:spMkLst>
        </pc:spChg>
        <pc:spChg chg="mod">
          <ac:chgData name="Mili Diengdoh" userId="4e667e83-9d62-4727-9cfb-ee24b16ffb56" providerId="ADAL" clId="{3C044092-C018-48CA-B25B-616345ED741B}" dt="2020-07-14T11:56:32.610" v="556" actId="12789"/>
          <ac:spMkLst>
            <pc:docMk/>
            <pc:sldMk cId="171335779" sldId="1953"/>
            <ac:spMk id="60" creationId="{AFA1C8CC-C223-45E8-ACB3-065A50855BAB}"/>
          </ac:spMkLst>
        </pc:spChg>
        <pc:spChg chg="mod">
          <ac:chgData name="Mili Diengdoh" userId="4e667e83-9d62-4727-9cfb-ee24b16ffb56" providerId="ADAL" clId="{3C044092-C018-48CA-B25B-616345ED741B}" dt="2020-07-14T11:56:29.530" v="554" actId="12789"/>
          <ac:spMkLst>
            <pc:docMk/>
            <pc:sldMk cId="171335779" sldId="1953"/>
            <ac:spMk id="61" creationId="{BEE48B26-944E-4BB7-A9EA-F5BEA6C54CFA}"/>
          </ac:spMkLst>
        </pc:spChg>
        <pc:grpChg chg="add del mod">
          <ac:chgData name="Mili Diengdoh" userId="4e667e83-9d62-4727-9cfb-ee24b16ffb56" providerId="ADAL" clId="{3C044092-C018-48CA-B25B-616345ED741B}" dt="2020-07-14T12:22:10.300" v="1029" actId="21"/>
          <ac:grpSpMkLst>
            <pc:docMk/>
            <pc:sldMk cId="171335779" sldId="1953"/>
            <ac:grpSpMk id="5" creationId="{B5935982-35C9-4DA3-9118-D55577E63F7F}"/>
          </ac:grpSpMkLst>
        </pc:grpChg>
        <pc:grpChg chg="add del mod">
          <ac:chgData name="Mili Diengdoh" userId="4e667e83-9d62-4727-9cfb-ee24b16ffb56" providerId="ADAL" clId="{3C044092-C018-48CA-B25B-616345ED741B}" dt="2020-07-14T12:21:27.877" v="1013" actId="165"/>
          <ac:grpSpMkLst>
            <pc:docMk/>
            <pc:sldMk cId="171335779" sldId="1953"/>
            <ac:grpSpMk id="15" creationId="{6E236676-E3D6-4C8A-A087-201F9C0756F6}"/>
          </ac:grpSpMkLst>
        </pc:grpChg>
        <pc:grpChg chg="mod topLvl">
          <ac:chgData name="Mili Diengdoh" userId="4e667e83-9d62-4727-9cfb-ee24b16ffb56" providerId="ADAL" clId="{3C044092-C018-48CA-B25B-616345ED741B}" dt="2020-07-14T12:21:51.671" v="1022" actId="164"/>
          <ac:grpSpMkLst>
            <pc:docMk/>
            <pc:sldMk cId="171335779" sldId="1953"/>
            <ac:grpSpMk id="16" creationId="{DD37D4D6-9C17-404A-9615-304ABDA7363D}"/>
          </ac:grpSpMkLst>
        </pc:grpChg>
        <pc:picChg chg="add mod">
          <ac:chgData name="Mili Diengdoh" userId="4e667e83-9d62-4727-9cfb-ee24b16ffb56" providerId="ADAL" clId="{3C044092-C018-48CA-B25B-616345ED741B}" dt="2020-07-14T12:21:51.671" v="1022" actId="164"/>
          <ac:picMkLst>
            <pc:docMk/>
            <pc:sldMk cId="171335779" sldId="1953"/>
            <ac:picMk id="4" creationId="{45F0A883-691D-4ECF-B280-A2FF4175F519}"/>
          </ac:picMkLst>
        </pc:picChg>
        <pc:picChg chg="add mod">
          <ac:chgData name="Mili Diengdoh" userId="4e667e83-9d62-4727-9cfb-ee24b16ffb56" providerId="ADAL" clId="{3C044092-C018-48CA-B25B-616345ED741B}" dt="2020-07-14T12:30:19.143" v="1147" actId="13244"/>
          <ac:picMkLst>
            <pc:docMk/>
            <pc:sldMk cId="171335779" sldId="1953"/>
            <ac:picMk id="7" creationId="{A67E7B6F-FCB7-458A-965C-083F9CA18F5E}"/>
          </ac:picMkLst>
        </pc:picChg>
        <pc:picChg chg="mod">
          <ac:chgData name="Mili Diengdoh" userId="4e667e83-9d62-4727-9cfb-ee24b16ffb56" providerId="ADAL" clId="{3C044092-C018-48CA-B25B-616345ED741B}" dt="2020-07-14T11:56:36.211" v="559" actId="12789"/>
          <ac:picMkLst>
            <pc:docMk/>
            <pc:sldMk cId="171335779" sldId="1953"/>
            <ac:picMk id="8" creationId="{09AAD6D9-EA0B-4876-9F04-0E436CA94E31}"/>
          </ac:picMkLst>
        </pc:picChg>
        <pc:picChg chg="del mod">
          <ac:chgData name="Mili Diengdoh" userId="4e667e83-9d62-4727-9cfb-ee24b16ffb56" providerId="ADAL" clId="{3C044092-C018-48CA-B25B-616345ED741B}" dt="2020-07-14T12:22:04.921" v="1028" actId="478"/>
          <ac:picMkLst>
            <pc:docMk/>
            <pc:sldMk cId="171335779" sldId="1953"/>
            <ac:picMk id="9" creationId="{2A5490B2-8CF8-4E36-91E0-76A6371F1B11}"/>
          </ac:picMkLst>
        </pc:picChg>
        <pc:picChg chg="mod">
          <ac:chgData name="Mili Diengdoh" userId="4e667e83-9d62-4727-9cfb-ee24b16ffb56" providerId="ADAL" clId="{3C044092-C018-48CA-B25B-616345ED741B}" dt="2020-07-14T11:56:32.610" v="556" actId="12789"/>
          <ac:picMkLst>
            <pc:docMk/>
            <pc:sldMk cId="171335779" sldId="1953"/>
            <ac:picMk id="10" creationId="{D0BA6485-2E9F-43A6-8AF7-4A6BAB14080B}"/>
          </ac:picMkLst>
        </pc:picChg>
        <pc:picChg chg="mod">
          <ac:chgData name="Mili Diengdoh" userId="4e667e83-9d62-4727-9cfb-ee24b16ffb56" providerId="ADAL" clId="{3C044092-C018-48CA-B25B-616345ED741B}" dt="2020-07-14T11:56:29.530" v="554" actId="12789"/>
          <ac:picMkLst>
            <pc:docMk/>
            <pc:sldMk cId="171335779" sldId="1953"/>
            <ac:picMk id="11" creationId="{BAD94B53-B93D-4586-861D-8EB2550BE2FC}"/>
          </ac:picMkLst>
        </pc:picChg>
        <pc:picChg chg="del mod topLvl">
          <ac:chgData name="Mili Diengdoh" userId="4e667e83-9d62-4727-9cfb-ee24b16ffb56" providerId="ADAL" clId="{3C044092-C018-48CA-B25B-616345ED741B}" dt="2020-07-14T12:21:29.576" v="1014" actId="478"/>
          <ac:picMkLst>
            <pc:docMk/>
            <pc:sldMk cId="171335779" sldId="1953"/>
            <ac:picMk id="17" creationId="{992150C2-3A1D-42AD-9D70-12D1F0E0BD04}"/>
          </ac:picMkLst>
        </pc:picChg>
        <pc:cxnChg chg="mod">
          <ac:chgData name="Mili Diengdoh" userId="4e667e83-9d62-4727-9cfb-ee24b16ffb56" providerId="ADAL" clId="{3C044092-C018-48CA-B25B-616345ED741B}" dt="2020-07-14T11:56:24.639" v="550" actId="465"/>
          <ac:cxnSpMkLst>
            <pc:docMk/>
            <pc:sldMk cId="171335779" sldId="1953"/>
            <ac:cxnSpMk id="62" creationId="{F117B5C7-B860-4392-92D6-75760243CA23}"/>
          </ac:cxnSpMkLst>
        </pc:cxnChg>
        <pc:cxnChg chg="mod">
          <ac:chgData name="Mili Diengdoh" userId="4e667e83-9d62-4727-9cfb-ee24b16ffb56" providerId="ADAL" clId="{3C044092-C018-48CA-B25B-616345ED741B}" dt="2020-07-14T11:56:24.639" v="550" actId="465"/>
          <ac:cxnSpMkLst>
            <pc:docMk/>
            <pc:sldMk cId="171335779" sldId="1953"/>
            <ac:cxnSpMk id="63" creationId="{5BBF24D0-E593-4C66-98BC-259F10749C85}"/>
          </ac:cxnSpMkLst>
        </pc:cxnChg>
        <pc:cxnChg chg="mod">
          <ac:chgData name="Mili Diengdoh" userId="4e667e83-9d62-4727-9cfb-ee24b16ffb56" providerId="ADAL" clId="{3C044092-C018-48CA-B25B-616345ED741B}" dt="2020-07-14T11:56:24.639" v="550" actId="465"/>
          <ac:cxnSpMkLst>
            <pc:docMk/>
            <pc:sldMk cId="171335779" sldId="1953"/>
            <ac:cxnSpMk id="64" creationId="{7E19AA60-EAFD-4E4A-B8F6-EFCE82CB481E}"/>
          </ac:cxnSpMkLst>
        </pc:cxnChg>
      </pc:sldChg>
      <pc:sldChg chg="addSp delSp modSp mod delAnim modAnim">
        <pc:chgData name="Mili Diengdoh" userId="4e667e83-9d62-4727-9cfb-ee24b16ffb56" providerId="ADAL" clId="{3C044092-C018-48CA-B25B-616345ED741B}" dt="2020-07-14T12:36:37.476" v="1171"/>
        <pc:sldMkLst>
          <pc:docMk/>
          <pc:sldMk cId="1152369062" sldId="1954"/>
        </pc:sldMkLst>
        <pc:spChg chg="mod topLvl">
          <ac:chgData name="Mili Diengdoh" userId="4e667e83-9d62-4727-9cfb-ee24b16ffb56" providerId="ADAL" clId="{3C044092-C018-48CA-B25B-616345ED741B}" dt="2020-07-14T11:58:14.398" v="592" actId="165"/>
          <ac:spMkLst>
            <pc:docMk/>
            <pc:sldMk cId="1152369062" sldId="1954"/>
            <ac:spMk id="4" creationId="{1D0062D8-2123-4E48-A0CF-E93D4837541A}"/>
          </ac:spMkLst>
        </pc:spChg>
        <pc:spChg chg="mod topLvl">
          <ac:chgData name="Mili Diengdoh" userId="4e667e83-9d62-4727-9cfb-ee24b16ffb56" providerId="ADAL" clId="{3C044092-C018-48CA-B25B-616345ED741B}" dt="2020-07-14T11:58:14.398" v="592" actId="165"/>
          <ac:spMkLst>
            <pc:docMk/>
            <pc:sldMk cId="1152369062" sldId="1954"/>
            <ac:spMk id="5" creationId="{55C80776-2AE1-47C4-B0FD-A170FAC6B8E4}"/>
          </ac:spMkLst>
        </pc:spChg>
        <pc:spChg chg="mod topLvl">
          <ac:chgData name="Mili Diengdoh" userId="4e667e83-9d62-4727-9cfb-ee24b16ffb56" providerId="ADAL" clId="{3C044092-C018-48CA-B25B-616345ED741B}" dt="2020-07-14T11:58:14.398" v="592" actId="165"/>
          <ac:spMkLst>
            <pc:docMk/>
            <pc:sldMk cId="1152369062" sldId="1954"/>
            <ac:spMk id="6" creationId="{B2886395-8C18-49D0-AFF5-F6A04AE00ADF}"/>
          </ac:spMkLst>
        </pc:spChg>
        <pc:spChg chg="mod">
          <ac:chgData name="Mili Diengdoh" userId="4e667e83-9d62-4727-9cfb-ee24b16ffb56" providerId="ADAL" clId="{3C044092-C018-48CA-B25B-616345ED741B}" dt="2020-07-14T11:58:48.810" v="609"/>
          <ac:spMkLst>
            <pc:docMk/>
            <pc:sldMk cId="1152369062" sldId="1954"/>
            <ac:spMk id="7" creationId="{20197764-8A48-43BC-9CC8-EF8D959A3256}"/>
          </ac:spMkLst>
        </pc:spChg>
        <pc:spChg chg="del mod">
          <ac:chgData name="Mili Diengdoh" userId="4e667e83-9d62-4727-9cfb-ee24b16ffb56" providerId="ADAL" clId="{3C044092-C018-48CA-B25B-616345ED741B}" dt="2020-07-14T11:57:59.546" v="586" actId="478"/>
          <ac:spMkLst>
            <pc:docMk/>
            <pc:sldMk cId="1152369062" sldId="1954"/>
            <ac:spMk id="8" creationId="{5E94CDCD-74E2-48A5-BD23-064F4FA6B15D}"/>
          </ac:spMkLst>
        </pc:spChg>
        <pc:spChg chg="mod">
          <ac:chgData name="Mili Diengdoh" userId="4e667e83-9d62-4727-9cfb-ee24b16ffb56" providerId="ADAL" clId="{3C044092-C018-48CA-B25B-616345ED741B}" dt="2020-07-14T11:58:26.848" v="596" actId="13244"/>
          <ac:spMkLst>
            <pc:docMk/>
            <pc:sldMk cId="1152369062" sldId="1954"/>
            <ac:spMk id="9" creationId="{7161F1B7-05CB-4933-B2E8-76E0E0787167}"/>
          </ac:spMkLst>
        </pc:spChg>
        <pc:spChg chg="add mod">
          <ac:chgData name="Mili Diengdoh" userId="4e667e83-9d62-4727-9cfb-ee24b16ffb56" providerId="ADAL" clId="{3C044092-C018-48CA-B25B-616345ED741B}" dt="2020-07-14T11:58:35.434" v="603"/>
          <ac:spMkLst>
            <pc:docMk/>
            <pc:sldMk cId="1152369062" sldId="1954"/>
            <ac:spMk id="10" creationId="{C65025D2-D56B-46E6-ADC6-B545EE465422}"/>
          </ac:spMkLst>
        </pc:spChg>
        <pc:grpChg chg="add del mod">
          <ac:chgData name="Mili Diengdoh" userId="4e667e83-9d62-4727-9cfb-ee24b16ffb56" providerId="ADAL" clId="{3C044092-C018-48CA-B25B-616345ED741B}" dt="2020-07-14T11:58:14.398" v="592" actId="165"/>
          <ac:grpSpMkLst>
            <pc:docMk/>
            <pc:sldMk cId="1152369062" sldId="1954"/>
            <ac:grpSpMk id="3" creationId="{8F631916-1716-4230-9D5F-3B9904BDE942}"/>
          </ac:grpSpMkLst>
        </pc:grpChg>
      </pc:sldChg>
      <pc:sldChg chg="addSp delSp modSp mod">
        <pc:chgData name="Mili Diengdoh" userId="4e667e83-9d62-4727-9cfb-ee24b16ffb56" providerId="ADAL" clId="{3C044092-C018-48CA-B25B-616345ED741B}" dt="2020-07-14T12:00:28.168" v="632" actId="208"/>
        <pc:sldMkLst>
          <pc:docMk/>
          <pc:sldMk cId="3465062807" sldId="1955"/>
        </pc:sldMkLst>
        <pc:spChg chg="add mod">
          <ac:chgData name="Mili Diengdoh" userId="4e667e83-9d62-4727-9cfb-ee24b16ffb56" providerId="ADAL" clId="{3C044092-C018-48CA-B25B-616345ED741B}" dt="2020-07-14T12:00:28.168" v="632" actId="208"/>
          <ac:spMkLst>
            <pc:docMk/>
            <pc:sldMk cId="3465062807" sldId="1955"/>
            <ac:spMk id="3" creationId="{8DCD46DE-5D07-4A36-971D-65368C857153}"/>
          </ac:spMkLst>
        </pc:spChg>
        <pc:spChg chg="add mod">
          <ac:chgData name="Mili Diengdoh" userId="4e667e83-9d62-4727-9cfb-ee24b16ffb56" providerId="ADAL" clId="{3C044092-C018-48CA-B25B-616345ED741B}" dt="2020-07-14T12:00:28.168" v="632" actId="208"/>
          <ac:spMkLst>
            <pc:docMk/>
            <pc:sldMk cId="3465062807" sldId="1955"/>
            <ac:spMk id="4" creationId="{AF57B293-3710-42FF-91E3-3AF2EA0CC4DC}"/>
          </ac:spMkLst>
        </pc:spChg>
        <pc:spChg chg="mod">
          <ac:chgData name="Mili Diengdoh" userId="4e667e83-9d62-4727-9cfb-ee24b16ffb56" providerId="ADAL" clId="{3C044092-C018-48CA-B25B-616345ED741B}" dt="2020-07-14T12:00:13.447" v="629" actId="20577"/>
          <ac:spMkLst>
            <pc:docMk/>
            <pc:sldMk cId="3465062807" sldId="1955"/>
            <ac:spMk id="41" creationId="{A4074F7C-1E1E-4F5D-9519-7F86A3B789E3}"/>
          </ac:spMkLst>
        </pc:spChg>
        <pc:spChg chg="del">
          <ac:chgData name="Mili Diengdoh" userId="4e667e83-9d62-4727-9cfb-ee24b16ffb56" providerId="ADAL" clId="{3C044092-C018-48CA-B25B-616345ED741B}" dt="2020-07-14T11:59:23.100" v="612" actId="478"/>
          <ac:spMkLst>
            <pc:docMk/>
            <pc:sldMk cId="3465062807" sldId="1955"/>
            <ac:spMk id="42" creationId="{9CE875F1-2051-44B5-9DF5-7372FB48BFA8}"/>
          </ac:spMkLst>
        </pc:spChg>
        <pc:spChg chg="del">
          <ac:chgData name="Mili Diengdoh" userId="4e667e83-9d62-4727-9cfb-ee24b16ffb56" providerId="ADAL" clId="{3C044092-C018-48CA-B25B-616345ED741B}" dt="2020-07-14T11:59:23.100" v="612" actId="478"/>
          <ac:spMkLst>
            <pc:docMk/>
            <pc:sldMk cId="3465062807" sldId="1955"/>
            <ac:spMk id="47" creationId="{C2951750-11E6-4E4B-858C-80DD884D9232}"/>
          </ac:spMkLst>
        </pc:spChg>
        <pc:picChg chg="del">
          <ac:chgData name="Mili Diengdoh" userId="4e667e83-9d62-4727-9cfb-ee24b16ffb56" providerId="ADAL" clId="{3C044092-C018-48CA-B25B-616345ED741B}" dt="2020-07-14T11:59:23.100" v="612" actId="478"/>
          <ac:picMkLst>
            <pc:docMk/>
            <pc:sldMk cId="3465062807" sldId="1955"/>
            <ac:picMk id="6" creationId="{D2952871-8C0D-445C-8CE2-49305F446A3F}"/>
          </ac:picMkLst>
        </pc:picChg>
        <pc:picChg chg="del">
          <ac:chgData name="Mili Diengdoh" userId="4e667e83-9d62-4727-9cfb-ee24b16ffb56" providerId="ADAL" clId="{3C044092-C018-48CA-B25B-616345ED741B}" dt="2020-07-14T11:59:23.100" v="612" actId="478"/>
          <ac:picMkLst>
            <pc:docMk/>
            <pc:sldMk cId="3465062807" sldId="1955"/>
            <ac:picMk id="8" creationId="{E8B1CEBB-7A56-4C2A-8EAA-E559E5296B70}"/>
          </ac:picMkLst>
        </pc:picChg>
        <pc:cxnChg chg="del">
          <ac:chgData name="Mili Diengdoh" userId="4e667e83-9d62-4727-9cfb-ee24b16ffb56" providerId="ADAL" clId="{3C044092-C018-48CA-B25B-616345ED741B}" dt="2020-07-14T11:59:23.100" v="612" actId="478"/>
          <ac:cxnSpMkLst>
            <pc:docMk/>
            <pc:sldMk cId="3465062807" sldId="1955"/>
            <ac:cxnSpMk id="37" creationId="{6EBEA3CE-073E-44F2-97C7-0BC8CD1C2702}"/>
          </ac:cxnSpMkLst>
        </pc:cxnChg>
      </pc:sldChg>
      <pc:sldChg chg="addSp delSp modSp mod">
        <pc:chgData name="Mili Diengdoh" userId="4e667e83-9d62-4727-9cfb-ee24b16ffb56" providerId="ADAL" clId="{3C044092-C018-48CA-B25B-616345ED741B}" dt="2020-07-14T12:00:41.026" v="633" actId="14100"/>
        <pc:sldMkLst>
          <pc:docMk/>
          <pc:sldMk cId="1065413711" sldId="1956"/>
        </pc:sldMkLst>
        <pc:spChg chg="add del mod">
          <ac:chgData name="Mili Diengdoh" userId="4e667e83-9d62-4727-9cfb-ee24b16ffb56" providerId="ADAL" clId="{3C044092-C018-48CA-B25B-616345ED741B}" dt="2020-07-14T11:28:39.154" v="251"/>
          <ac:spMkLst>
            <pc:docMk/>
            <pc:sldMk cId="1065413711" sldId="1956"/>
            <ac:spMk id="2" creationId="{568C5416-5752-4679-AD8E-FDDFDBB5A80C}"/>
          </ac:spMkLst>
        </pc:spChg>
        <pc:spChg chg="add del mod">
          <ac:chgData name="Mili Diengdoh" userId="4e667e83-9d62-4727-9cfb-ee24b16ffb56" providerId="ADAL" clId="{3C044092-C018-48CA-B25B-616345ED741B}" dt="2020-07-14T11:28:48.189" v="253"/>
          <ac:spMkLst>
            <pc:docMk/>
            <pc:sldMk cId="1065413711" sldId="1956"/>
            <ac:spMk id="3" creationId="{292C4131-DEBA-47E0-BBF8-9482D95BE5C9}"/>
          </ac:spMkLst>
        </pc:spChg>
        <pc:spChg chg="mod">
          <ac:chgData name="Mili Diengdoh" userId="4e667e83-9d62-4727-9cfb-ee24b16ffb56" providerId="ADAL" clId="{3C044092-C018-48CA-B25B-616345ED741B}" dt="2020-07-14T11:29:04.670" v="257"/>
          <ac:spMkLst>
            <pc:docMk/>
            <pc:sldMk cId="1065413711" sldId="1956"/>
            <ac:spMk id="4" creationId="{0CD8665D-5A50-4F07-9D33-48CCD3FD74C7}"/>
          </ac:spMkLst>
        </pc:spChg>
        <pc:spChg chg="add del mod">
          <ac:chgData name="Mili Diengdoh" userId="4e667e83-9d62-4727-9cfb-ee24b16ffb56" providerId="ADAL" clId="{3C044092-C018-48CA-B25B-616345ED741B}" dt="2020-07-14T11:29:04.670" v="257"/>
          <ac:spMkLst>
            <pc:docMk/>
            <pc:sldMk cId="1065413711" sldId="1956"/>
            <ac:spMk id="5" creationId="{E10E68A4-AAAB-4466-9E2C-728226F275F4}"/>
          </ac:spMkLst>
        </pc:spChg>
        <pc:picChg chg="mod">
          <ac:chgData name="Mili Diengdoh" userId="4e667e83-9d62-4727-9cfb-ee24b16ffb56" providerId="ADAL" clId="{3C044092-C018-48CA-B25B-616345ED741B}" dt="2020-07-14T12:00:41.026" v="633" actId="14100"/>
          <ac:picMkLst>
            <pc:docMk/>
            <pc:sldMk cId="1065413711" sldId="1956"/>
            <ac:picMk id="6" creationId="{0591EBCD-7950-4A5C-9031-691E1ADDF00E}"/>
          </ac:picMkLst>
        </pc:picChg>
      </pc:sldChg>
      <pc:sldChg chg="addSp delSp modSp add mod">
        <pc:chgData name="Mili Diengdoh" userId="4e667e83-9d62-4727-9cfb-ee24b16ffb56" providerId="ADAL" clId="{3C044092-C018-48CA-B25B-616345ED741B}" dt="2020-07-14T12:32:28.062" v="1153"/>
        <pc:sldMkLst>
          <pc:docMk/>
          <pc:sldMk cId="2052801764" sldId="1957"/>
        </pc:sldMkLst>
        <pc:spChg chg="add mod topLvl">
          <ac:chgData name="Mili Diengdoh" userId="4e667e83-9d62-4727-9cfb-ee24b16ffb56" providerId="ADAL" clId="{3C044092-C018-48CA-B25B-616345ED741B}" dt="2020-07-14T11:13:07.550" v="60"/>
          <ac:spMkLst>
            <pc:docMk/>
            <pc:sldMk cId="2052801764" sldId="1957"/>
            <ac:spMk id="4" creationId="{6BDFB86B-65AB-4300-B3F0-1E8C3F4EAD42}"/>
          </ac:spMkLst>
        </pc:spChg>
        <pc:spChg chg="add mod topLvl">
          <ac:chgData name="Mili Diengdoh" userId="4e667e83-9d62-4727-9cfb-ee24b16ffb56" providerId="ADAL" clId="{3C044092-C018-48CA-B25B-616345ED741B}" dt="2020-07-14T11:12:15.710" v="32" actId="14100"/>
          <ac:spMkLst>
            <pc:docMk/>
            <pc:sldMk cId="2052801764" sldId="1957"/>
            <ac:spMk id="23" creationId="{D61D5B8B-9A7D-47E7-84D4-BBD52ABA5CDC}"/>
          </ac:spMkLst>
        </pc:spChg>
        <pc:spChg chg="add mod topLvl">
          <ac:chgData name="Mili Diengdoh" userId="4e667e83-9d62-4727-9cfb-ee24b16ffb56" providerId="ADAL" clId="{3C044092-C018-48CA-B25B-616345ED741B}" dt="2020-07-14T11:13:26.188" v="70"/>
          <ac:spMkLst>
            <pc:docMk/>
            <pc:sldMk cId="2052801764" sldId="1957"/>
            <ac:spMk id="26" creationId="{F2E07605-C0FF-408F-A039-BFEFC1D113E9}"/>
          </ac:spMkLst>
        </pc:spChg>
        <pc:spChg chg="add mod topLvl">
          <ac:chgData name="Mili Diengdoh" userId="4e667e83-9d62-4727-9cfb-ee24b16ffb56" providerId="ADAL" clId="{3C044092-C018-48CA-B25B-616345ED741B}" dt="2020-07-14T11:13:24.263" v="68"/>
          <ac:spMkLst>
            <pc:docMk/>
            <pc:sldMk cId="2052801764" sldId="1957"/>
            <ac:spMk id="29" creationId="{E517C8BE-4E29-48EB-B8FD-BE1245CDEF24}"/>
          </ac:spMkLst>
        </pc:spChg>
        <pc:spChg chg="add mod">
          <ac:chgData name="Mili Diengdoh" userId="4e667e83-9d62-4727-9cfb-ee24b16ffb56" providerId="ADAL" clId="{3C044092-C018-48CA-B25B-616345ED741B}" dt="2020-07-14T12:32:28.062" v="1153"/>
          <ac:spMkLst>
            <pc:docMk/>
            <pc:sldMk cId="2052801764" sldId="1957"/>
            <ac:spMk id="47" creationId="{C0E82381-8AA6-4B2A-B6FC-40C7E25798D6}"/>
          </ac:spMkLst>
        </pc:spChg>
        <pc:spChg chg="add mod">
          <ac:chgData name="Mili Diengdoh" userId="4e667e83-9d62-4727-9cfb-ee24b16ffb56" providerId="ADAL" clId="{3C044092-C018-48CA-B25B-616345ED741B}" dt="2020-07-14T11:12:56.472" v="52"/>
          <ac:spMkLst>
            <pc:docMk/>
            <pc:sldMk cId="2052801764" sldId="1957"/>
            <ac:spMk id="49" creationId="{B97F0747-BED8-473E-ADF5-83F76670EF11}"/>
          </ac:spMkLst>
        </pc:spChg>
        <pc:spChg chg="add mod">
          <ac:chgData name="Mili Diengdoh" userId="4e667e83-9d62-4727-9cfb-ee24b16ffb56" providerId="ADAL" clId="{3C044092-C018-48CA-B25B-616345ED741B}" dt="2020-07-14T11:22:34.363" v="233" actId="13244"/>
          <ac:spMkLst>
            <pc:docMk/>
            <pc:sldMk cId="2052801764" sldId="1957"/>
            <ac:spMk id="51" creationId="{A54F957B-AA15-4349-9AAE-629C953DB655}"/>
          </ac:spMkLst>
        </pc:spChg>
        <pc:spChg chg="mod">
          <ac:chgData name="Mili Diengdoh" userId="4e667e83-9d62-4727-9cfb-ee24b16ffb56" providerId="ADAL" clId="{3C044092-C018-48CA-B25B-616345ED741B}" dt="2020-07-14T11:14:33.835" v="88"/>
          <ac:spMkLst>
            <pc:docMk/>
            <pc:sldMk cId="2052801764" sldId="1957"/>
            <ac:spMk id="61" creationId="{CC7470EA-8C3C-42D4-ADB8-40A21A437613}"/>
          </ac:spMkLst>
        </pc:spChg>
        <pc:spChg chg="mod">
          <ac:chgData name="Mili Diengdoh" userId="4e667e83-9d62-4727-9cfb-ee24b16ffb56" providerId="ADAL" clId="{3C044092-C018-48CA-B25B-616345ED741B}" dt="2020-07-14T11:14:33.835" v="88"/>
          <ac:spMkLst>
            <pc:docMk/>
            <pc:sldMk cId="2052801764" sldId="1957"/>
            <ac:spMk id="62" creationId="{99D70DB6-8AFC-4A87-8EEE-D27DF25C972C}"/>
          </ac:spMkLst>
        </pc:spChg>
        <pc:spChg chg="del">
          <ac:chgData name="Mili Diengdoh" userId="4e667e83-9d62-4727-9cfb-ee24b16ffb56" providerId="ADAL" clId="{3C044092-C018-48CA-B25B-616345ED741B}" dt="2020-07-14T11:10:48.204" v="5" actId="478"/>
          <ac:spMkLst>
            <pc:docMk/>
            <pc:sldMk cId="2052801764" sldId="1957"/>
            <ac:spMk id="64" creationId="{71B664F4-399E-4A9A-BA2E-6920F82A30B7}"/>
          </ac:spMkLst>
        </pc:spChg>
        <pc:spChg chg="del">
          <ac:chgData name="Mili Diengdoh" userId="4e667e83-9d62-4727-9cfb-ee24b16ffb56" providerId="ADAL" clId="{3C044092-C018-48CA-B25B-616345ED741B}" dt="2020-07-14T11:10:48.204" v="5" actId="478"/>
          <ac:spMkLst>
            <pc:docMk/>
            <pc:sldMk cId="2052801764" sldId="1957"/>
            <ac:spMk id="66" creationId="{458E4983-4342-4E52-8C43-8FDE37F0BF79}"/>
          </ac:spMkLst>
        </pc:spChg>
        <pc:spChg chg="del">
          <ac:chgData name="Mili Diengdoh" userId="4e667e83-9d62-4727-9cfb-ee24b16ffb56" providerId="ADAL" clId="{3C044092-C018-48CA-B25B-616345ED741B}" dt="2020-07-14T11:10:48.204" v="5" actId="478"/>
          <ac:spMkLst>
            <pc:docMk/>
            <pc:sldMk cId="2052801764" sldId="1957"/>
            <ac:spMk id="68" creationId="{F2E7E68D-15AE-4D39-AE62-78F58B750E39}"/>
          </ac:spMkLst>
        </pc:spChg>
        <pc:spChg chg="del">
          <ac:chgData name="Mili Diengdoh" userId="4e667e83-9d62-4727-9cfb-ee24b16ffb56" providerId="ADAL" clId="{3C044092-C018-48CA-B25B-616345ED741B}" dt="2020-07-14T11:10:48.204" v="5" actId="478"/>
          <ac:spMkLst>
            <pc:docMk/>
            <pc:sldMk cId="2052801764" sldId="1957"/>
            <ac:spMk id="70" creationId="{B67613AF-47EC-4E06-8928-36303914CB18}"/>
          </ac:spMkLst>
        </pc:spChg>
        <pc:spChg chg="del">
          <ac:chgData name="Mili Diengdoh" userId="4e667e83-9d62-4727-9cfb-ee24b16ffb56" providerId="ADAL" clId="{3C044092-C018-48CA-B25B-616345ED741B}" dt="2020-07-14T11:10:48.204" v="5" actId="478"/>
          <ac:spMkLst>
            <pc:docMk/>
            <pc:sldMk cId="2052801764" sldId="1957"/>
            <ac:spMk id="72" creationId="{07344439-ED9E-4C93-AFF6-F0C2D7B30636}"/>
          </ac:spMkLst>
        </pc:spChg>
        <pc:spChg chg="del">
          <ac:chgData name="Mili Diengdoh" userId="4e667e83-9d62-4727-9cfb-ee24b16ffb56" providerId="ADAL" clId="{3C044092-C018-48CA-B25B-616345ED741B}" dt="2020-07-14T11:10:48.204" v="5" actId="478"/>
          <ac:spMkLst>
            <pc:docMk/>
            <pc:sldMk cId="2052801764" sldId="1957"/>
            <ac:spMk id="74" creationId="{D9A47A5A-AF39-4697-A80B-D0064843BCE0}"/>
          </ac:spMkLst>
        </pc:spChg>
        <pc:spChg chg="del">
          <ac:chgData name="Mili Diengdoh" userId="4e667e83-9d62-4727-9cfb-ee24b16ffb56" providerId="ADAL" clId="{3C044092-C018-48CA-B25B-616345ED741B}" dt="2020-07-14T11:10:48.204" v="5" actId="478"/>
          <ac:spMkLst>
            <pc:docMk/>
            <pc:sldMk cId="2052801764" sldId="1957"/>
            <ac:spMk id="76" creationId="{DA33ADF4-3EEA-4130-9906-84C774B042EA}"/>
          </ac:spMkLst>
        </pc:spChg>
        <pc:spChg chg="mod topLvl">
          <ac:chgData name="Mili Diengdoh" userId="4e667e83-9d62-4727-9cfb-ee24b16ffb56" providerId="ADAL" clId="{3C044092-C018-48CA-B25B-616345ED741B}" dt="2020-07-14T11:15:16.054" v="108" actId="164"/>
          <ac:spMkLst>
            <pc:docMk/>
            <pc:sldMk cId="2052801764" sldId="1957"/>
            <ac:spMk id="78" creationId="{BCFC4F4E-B8A5-44FD-A38E-6B3C69ACD88C}"/>
          </ac:spMkLst>
        </pc:spChg>
        <pc:spChg chg="mod topLvl">
          <ac:chgData name="Mili Diengdoh" userId="4e667e83-9d62-4727-9cfb-ee24b16ffb56" providerId="ADAL" clId="{3C044092-C018-48CA-B25B-616345ED741B}" dt="2020-07-14T11:15:16.054" v="108" actId="164"/>
          <ac:spMkLst>
            <pc:docMk/>
            <pc:sldMk cId="2052801764" sldId="1957"/>
            <ac:spMk id="79" creationId="{7A3FF7A0-5EE6-426B-AB54-51662AD6B6D3}"/>
          </ac:spMkLst>
        </pc:spChg>
        <pc:grpChg chg="add del mod">
          <ac:chgData name="Mili Diengdoh" userId="4e667e83-9d62-4727-9cfb-ee24b16ffb56" providerId="ADAL" clId="{3C044092-C018-48CA-B25B-616345ED741B}" dt="2020-07-14T11:12:08.155" v="29" actId="165"/>
          <ac:grpSpMkLst>
            <pc:docMk/>
            <pc:sldMk cId="2052801764" sldId="1957"/>
            <ac:grpSpMk id="8" creationId="{2EF62062-B9C6-49D8-8BCA-99DFE532E029}"/>
          </ac:grpSpMkLst>
        </pc:grpChg>
        <pc:grpChg chg="add del mod">
          <ac:chgData name="Mili Diengdoh" userId="4e667e83-9d62-4727-9cfb-ee24b16ffb56" providerId="ADAL" clId="{3C044092-C018-48CA-B25B-616345ED741B}" dt="2020-07-14T11:12:08.155" v="29" actId="165"/>
          <ac:grpSpMkLst>
            <pc:docMk/>
            <pc:sldMk cId="2052801764" sldId="1957"/>
            <ac:grpSpMk id="9" creationId="{212F254B-DE6A-4091-A760-19797FEA5A9E}"/>
          </ac:grpSpMkLst>
        </pc:grpChg>
        <pc:grpChg chg="add del mod">
          <ac:chgData name="Mili Diengdoh" userId="4e667e83-9d62-4727-9cfb-ee24b16ffb56" providerId="ADAL" clId="{3C044092-C018-48CA-B25B-616345ED741B}" dt="2020-07-14T11:12:08.155" v="29" actId="165"/>
          <ac:grpSpMkLst>
            <pc:docMk/>
            <pc:sldMk cId="2052801764" sldId="1957"/>
            <ac:grpSpMk id="10" creationId="{829A95D8-9B3D-4FE0-A8B0-E5303E3416BD}"/>
          </ac:grpSpMkLst>
        </pc:grpChg>
        <pc:grpChg chg="add del mod">
          <ac:chgData name="Mili Diengdoh" userId="4e667e83-9d62-4727-9cfb-ee24b16ffb56" providerId="ADAL" clId="{3C044092-C018-48CA-B25B-616345ED741B}" dt="2020-07-14T11:12:08.155" v="29" actId="165"/>
          <ac:grpSpMkLst>
            <pc:docMk/>
            <pc:sldMk cId="2052801764" sldId="1957"/>
            <ac:grpSpMk id="11" creationId="{5818ECB2-CBFC-40BF-A5D0-C54B3C35F841}"/>
          </ac:grpSpMkLst>
        </pc:grpChg>
        <pc:grpChg chg="add del mod topLvl">
          <ac:chgData name="Mili Diengdoh" userId="4e667e83-9d62-4727-9cfb-ee24b16ffb56" providerId="ADAL" clId="{3C044092-C018-48CA-B25B-616345ED741B}" dt="2020-07-14T11:19:20.178" v="217" actId="478"/>
          <ac:grpSpMkLst>
            <pc:docMk/>
            <pc:sldMk cId="2052801764" sldId="1957"/>
            <ac:grpSpMk id="33" creationId="{E93AB452-5F4B-4EA0-A328-EEAE7510C264}"/>
          </ac:grpSpMkLst>
        </pc:grpChg>
        <pc:grpChg chg="add del mod">
          <ac:chgData name="Mili Diengdoh" userId="4e667e83-9d62-4727-9cfb-ee24b16ffb56" providerId="ADAL" clId="{3C044092-C018-48CA-B25B-616345ED741B}" dt="2020-07-14T11:16:39.932" v="144" actId="478"/>
          <ac:grpSpMkLst>
            <pc:docMk/>
            <pc:sldMk cId="2052801764" sldId="1957"/>
            <ac:grpSpMk id="43" creationId="{E6ACB2FB-C442-466D-8F4A-CF123A47412C}"/>
          </ac:grpSpMkLst>
        </pc:grpChg>
        <pc:grpChg chg="add del mod">
          <ac:chgData name="Mili Diengdoh" userId="4e667e83-9d62-4727-9cfb-ee24b16ffb56" providerId="ADAL" clId="{3C044092-C018-48CA-B25B-616345ED741B}" dt="2020-07-14T11:17:11.186" v="159" actId="478"/>
          <ac:grpSpMkLst>
            <pc:docMk/>
            <pc:sldMk cId="2052801764" sldId="1957"/>
            <ac:grpSpMk id="59" creationId="{29788F5F-EAC2-47ED-8F67-78FE29809698}"/>
          </ac:grpSpMkLst>
        </pc:grpChg>
        <pc:grpChg chg="add del mod">
          <ac:chgData name="Mili Diengdoh" userId="4e667e83-9d62-4727-9cfb-ee24b16ffb56" providerId="ADAL" clId="{3C044092-C018-48CA-B25B-616345ED741B}" dt="2020-07-14T11:14:39.898" v="90" actId="478"/>
          <ac:grpSpMkLst>
            <pc:docMk/>
            <pc:sldMk cId="2052801764" sldId="1957"/>
            <ac:grpSpMk id="60" creationId="{021E9B63-EC89-45A8-99D2-37503EA7FD60}"/>
          </ac:grpSpMkLst>
        </pc:grpChg>
        <pc:grpChg chg="add del mod">
          <ac:chgData name="Mili Diengdoh" userId="4e667e83-9d62-4727-9cfb-ee24b16ffb56" providerId="ADAL" clId="{3C044092-C018-48CA-B25B-616345ED741B}" dt="2020-07-14T11:14:52.070" v="96" actId="165"/>
          <ac:grpSpMkLst>
            <pc:docMk/>
            <pc:sldMk cId="2052801764" sldId="1957"/>
            <ac:grpSpMk id="77" creationId="{094B60D3-26CA-4BEC-9534-20860EF9A113}"/>
          </ac:grpSpMkLst>
        </pc:grpChg>
        <pc:grpChg chg="add del mod">
          <ac:chgData name="Mili Diengdoh" userId="4e667e83-9d62-4727-9cfb-ee24b16ffb56" providerId="ADAL" clId="{3C044092-C018-48CA-B25B-616345ED741B}" dt="2020-07-14T11:18:29.600" v="187" actId="478"/>
          <ac:grpSpMkLst>
            <pc:docMk/>
            <pc:sldMk cId="2052801764" sldId="1957"/>
            <ac:grpSpMk id="93" creationId="{870FDD33-4265-4951-8ED1-CBEBFDBC1D84}"/>
          </ac:grpSpMkLst>
        </pc:grpChg>
        <pc:picChg chg="add del mod topLvl">
          <ac:chgData name="Mili Diengdoh" userId="4e667e83-9d62-4727-9cfb-ee24b16ffb56" providerId="ADAL" clId="{3C044092-C018-48CA-B25B-616345ED741B}" dt="2020-07-14T11:19:56.852" v="226" actId="478"/>
          <ac:picMkLst>
            <pc:docMk/>
            <pc:sldMk cId="2052801764" sldId="1957"/>
            <ac:picMk id="3" creationId="{C0C55C58-724B-4258-A4F1-82A0DD2285CA}"/>
          </ac:picMkLst>
        </pc:picChg>
        <pc:picChg chg="add del mod">
          <ac:chgData name="Mili Diengdoh" userId="4e667e83-9d62-4727-9cfb-ee24b16ffb56" providerId="ADAL" clId="{3C044092-C018-48CA-B25B-616345ED741B}" dt="2020-07-14T11:15:42.234" v="118" actId="478"/>
          <ac:picMkLst>
            <pc:docMk/>
            <pc:sldMk cId="2052801764" sldId="1957"/>
            <ac:picMk id="15" creationId="{9A96D007-B34F-482C-8333-76BE7261674C}"/>
          </ac:picMkLst>
        </pc:picChg>
        <pc:picChg chg="add del mod">
          <ac:chgData name="Mili Diengdoh" userId="4e667e83-9d62-4727-9cfb-ee24b16ffb56" providerId="ADAL" clId="{3C044092-C018-48CA-B25B-616345ED741B}" dt="2020-07-14T11:17:33.521" v="172" actId="478"/>
          <ac:picMkLst>
            <pc:docMk/>
            <pc:sldMk cId="2052801764" sldId="1957"/>
            <ac:picMk id="16" creationId="{D43C098F-CF13-40A0-AC5E-13E614301A9F}"/>
          </ac:picMkLst>
        </pc:picChg>
        <pc:picChg chg="add del mod">
          <ac:chgData name="Mili Diengdoh" userId="4e667e83-9d62-4727-9cfb-ee24b16ffb56" providerId="ADAL" clId="{3C044092-C018-48CA-B25B-616345ED741B}" dt="2020-07-14T11:18:27.895" v="186" actId="478"/>
          <ac:picMkLst>
            <pc:docMk/>
            <pc:sldMk cId="2052801764" sldId="1957"/>
            <ac:picMk id="18" creationId="{2451AA35-846F-4E71-ACE2-3B94C9613890}"/>
          </ac:picMkLst>
        </pc:picChg>
        <pc:picChg chg="add del mod">
          <ac:chgData name="Mili Diengdoh" userId="4e667e83-9d62-4727-9cfb-ee24b16ffb56" providerId="ADAL" clId="{3C044092-C018-48CA-B25B-616345ED741B}" dt="2020-07-14T11:18:58.005" v="204" actId="478"/>
          <ac:picMkLst>
            <pc:docMk/>
            <pc:sldMk cId="2052801764" sldId="1957"/>
            <ac:picMk id="20" creationId="{3B60A366-7A75-49AA-9F59-981F26D2FAE2}"/>
          </ac:picMkLst>
        </pc:picChg>
        <pc:picChg chg="add del mod topLvl">
          <ac:chgData name="Mili Diengdoh" userId="4e667e83-9d62-4727-9cfb-ee24b16ffb56" providerId="ADAL" clId="{3C044092-C018-48CA-B25B-616345ED741B}" dt="2020-07-14T11:12:28.861" v="37" actId="478"/>
          <ac:picMkLst>
            <pc:docMk/>
            <pc:sldMk cId="2052801764" sldId="1957"/>
            <ac:picMk id="22" creationId="{726782BA-E9EE-4517-87D3-724EFF8B1790}"/>
          </ac:picMkLst>
        </pc:picChg>
        <pc:picChg chg="add del mod topLvl">
          <ac:chgData name="Mili Diengdoh" userId="4e667e83-9d62-4727-9cfb-ee24b16ffb56" providerId="ADAL" clId="{3C044092-C018-48CA-B25B-616345ED741B}" dt="2020-07-14T11:12:33.019" v="40" actId="478"/>
          <ac:picMkLst>
            <pc:docMk/>
            <pc:sldMk cId="2052801764" sldId="1957"/>
            <ac:picMk id="25" creationId="{132AFE52-77AB-4FD8-8A7C-CC404F9CDBB7}"/>
          </ac:picMkLst>
        </pc:picChg>
        <pc:picChg chg="add del mod topLvl">
          <ac:chgData name="Mili Diengdoh" userId="4e667e83-9d62-4727-9cfb-ee24b16ffb56" providerId="ADAL" clId="{3C044092-C018-48CA-B25B-616345ED741B}" dt="2020-07-14T11:12:36.831" v="43" actId="478"/>
          <ac:picMkLst>
            <pc:docMk/>
            <pc:sldMk cId="2052801764" sldId="1957"/>
            <ac:picMk id="28" creationId="{C3D15996-4A2D-4266-947B-9D08201AF350}"/>
          </ac:picMkLst>
        </pc:picChg>
        <pc:picChg chg="add del mod">
          <ac:chgData name="Mili Diengdoh" userId="4e667e83-9d62-4727-9cfb-ee24b16ffb56" providerId="ADAL" clId="{3C044092-C018-48CA-B25B-616345ED741B}" dt="2020-07-14T11:19:18.654" v="216" actId="478"/>
          <ac:picMkLst>
            <pc:docMk/>
            <pc:sldMk cId="2052801764" sldId="1957"/>
            <ac:picMk id="30" creationId="{414DA39B-B7B0-40CB-8F7A-6B0BD903F04C}"/>
          </ac:picMkLst>
        </pc:picChg>
        <pc:picChg chg="add del mod">
          <ac:chgData name="Mili Diengdoh" userId="4e667e83-9d62-4727-9cfb-ee24b16ffb56" providerId="ADAL" clId="{3C044092-C018-48CA-B25B-616345ED741B}" dt="2020-07-14T11:17:02.832" v="157" actId="478"/>
          <ac:picMkLst>
            <pc:docMk/>
            <pc:sldMk cId="2052801764" sldId="1957"/>
            <ac:picMk id="31" creationId="{FF87A32E-4D76-4A56-9E73-73D7E2C4E625}"/>
          </ac:picMkLst>
        </pc:picChg>
        <pc:picChg chg="add del mod">
          <ac:chgData name="Mili Diengdoh" userId="4e667e83-9d62-4727-9cfb-ee24b16ffb56" providerId="ADAL" clId="{3C044092-C018-48CA-B25B-616345ED741B}" dt="2020-07-14T11:16:18.521" v="129" actId="478"/>
          <ac:picMkLst>
            <pc:docMk/>
            <pc:sldMk cId="2052801764" sldId="1957"/>
            <ac:picMk id="32" creationId="{08E05F04-7A6F-451C-B9AE-331893D5F26F}"/>
          </ac:picMkLst>
        </pc:picChg>
        <pc:picChg chg="add del mod">
          <ac:chgData name="Mili Diengdoh" userId="4e667e83-9d62-4727-9cfb-ee24b16ffb56" providerId="ADAL" clId="{3C044092-C018-48CA-B25B-616345ED741B}" dt="2020-07-14T11:15:24.003" v="113" actId="478"/>
          <ac:picMkLst>
            <pc:docMk/>
            <pc:sldMk cId="2052801764" sldId="1957"/>
            <ac:picMk id="35" creationId="{D6077710-7524-4B50-9824-1375C4F16DD1}"/>
          </ac:picMkLst>
        </pc:picChg>
        <pc:picChg chg="add del mod">
          <ac:chgData name="Mili Diengdoh" userId="4e667e83-9d62-4727-9cfb-ee24b16ffb56" providerId="ADAL" clId="{3C044092-C018-48CA-B25B-616345ED741B}" dt="2020-07-14T11:16:16.794" v="128" actId="478"/>
          <ac:picMkLst>
            <pc:docMk/>
            <pc:sldMk cId="2052801764" sldId="1957"/>
            <ac:picMk id="37" creationId="{D0D3F23C-8515-43CF-A970-CF531B3D517F}"/>
          </ac:picMkLst>
        </pc:picChg>
        <pc:picChg chg="add mod">
          <ac:chgData name="Mili Diengdoh" userId="4e667e83-9d62-4727-9cfb-ee24b16ffb56" providerId="ADAL" clId="{3C044092-C018-48CA-B25B-616345ED741B}" dt="2020-07-14T11:19:39.171" v="219" actId="13244"/>
          <ac:picMkLst>
            <pc:docMk/>
            <pc:sldMk cId="2052801764" sldId="1957"/>
            <ac:picMk id="39" creationId="{79F99272-DD3C-40B5-8075-BB32E81EB395}"/>
          </ac:picMkLst>
        </pc:picChg>
        <pc:picChg chg="add del mod topLvl">
          <ac:chgData name="Mili Diengdoh" userId="4e667e83-9d62-4727-9cfb-ee24b16ffb56" providerId="ADAL" clId="{3C044092-C018-48CA-B25B-616345ED741B}" dt="2020-07-14T11:16:39.932" v="144" actId="478"/>
          <ac:picMkLst>
            <pc:docMk/>
            <pc:sldMk cId="2052801764" sldId="1957"/>
            <ac:picMk id="41" creationId="{DC3F06D1-63FA-48A9-AC84-56CF717677F4}"/>
          </ac:picMkLst>
        </pc:picChg>
        <pc:picChg chg="add del mod">
          <ac:chgData name="Mili Diengdoh" userId="4e667e83-9d62-4727-9cfb-ee24b16ffb56" providerId="ADAL" clId="{3C044092-C018-48CA-B25B-616345ED741B}" dt="2020-07-14T11:13:54.185" v="83" actId="478"/>
          <ac:picMkLst>
            <pc:docMk/>
            <pc:sldMk cId="2052801764" sldId="1957"/>
            <ac:picMk id="46" creationId="{7BE267EE-4032-4DED-9DFD-6F87266721A3}"/>
          </ac:picMkLst>
        </pc:picChg>
        <pc:picChg chg="add del mod">
          <ac:chgData name="Mili Diengdoh" userId="4e667e83-9d62-4727-9cfb-ee24b16ffb56" providerId="ADAL" clId="{3C044092-C018-48CA-B25B-616345ED741B}" dt="2020-07-14T11:13:40.881" v="75" actId="478"/>
          <ac:picMkLst>
            <pc:docMk/>
            <pc:sldMk cId="2052801764" sldId="1957"/>
            <ac:picMk id="52" creationId="{F3744D84-4CB7-4D44-B090-7C972CFB6C8C}"/>
          </ac:picMkLst>
        </pc:picChg>
        <pc:picChg chg="add del mod">
          <ac:chgData name="Mili Diengdoh" userId="4e667e83-9d62-4727-9cfb-ee24b16ffb56" providerId="ADAL" clId="{3C044092-C018-48CA-B25B-616345ED741B}" dt="2020-07-14T11:13:44.402" v="78" actId="478"/>
          <ac:picMkLst>
            <pc:docMk/>
            <pc:sldMk cId="2052801764" sldId="1957"/>
            <ac:picMk id="53" creationId="{4A9858EE-77A2-4740-8293-0A0F764DEBA7}"/>
          </ac:picMkLst>
        </pc:picChg>
        <pc:picChg chg="add del mod">
          <ac:chgData name="Mili Diengdoh" userId="4e667e83-9d62-4727-9cfb-ee24b16ffb56" providerId="ADAL" clId="{3C044092-C018-48CA-B25B-616345ED741B}" dt="2020-07-14T11:19:55.667" v="225" actId="21"/>
          <ac:picMkLst>
            <pc:docMk/>
            <pc:sldMk cId="2052801764" sldId="1957"/>
            <ac:picMk id="55" creationId="{32936118-E0A4-460E-9114-5CAA4E401756}"/>
          </ac:picMkLst>
        </pc:picChg>
        <pc:picChg chg="add del mod topLvl">
          <ac:chgData name="Mili Diengdoh" userId="4e667e83-9d62-4727-9cfb-ee24b16ffb56" providerId="ADAL" clId="{3C044092-C018-48CA-B25B-616345ED741B}" dt="2020-07-14T11:17:11.186" v="159" actId="478"/>
          <ac:picMkLst>
            <pc:docMk/>
            <pc:sldMk cId="2052801764" sldId="1957"/>
            <ac:picMk id="57" creationId="{DB426F67-5B80-459E-9AAB-200A982AADFF}"/>
          </ac:picMkLst>
        </pc:picChg>
        <pc:picChg chg="del">
          <ac:chgData name="Mili Diengdoh" userId="4e667e83-9d62-4727-9cfb-ee24b16ffb56" providerId="ADAL" clId="{3C044092-C018-48CA-B25B-616345ED741B}" dt="2020-07-14T11:10:48.204" v="5" actId="478"/>
          <ac:picMkLst>
            <pc:docMk/>
            <pc:sldMk cId="2052801764" sldId="1957"/>
            <ac:picMk id="63" creationId="{B26A15CA-F3F5-4028-A470-3140582DBAC5}"/>
          </ac:picMkLst>
        </pc:picChg>
        <pc:picChg chg="del">
          <ac:chgData name="Mili Diengdoh" userId="4e667e83-9d62-4727-9cfb-ee24b16ffb56" providerId="ADAL" clId="{3C044092-C018-48CA-B25B-616345ED741B}" dt="2020-07-14T11:10:48.204" v="5" actId="478"/>
          <ac:picMkLst>
            <pc:docMk/>
            <pc:sldMk cId="2052801764" sldId="1957"/>
            <ac:picMk id="65" creationId="{694C07FC-0F22-4FBD-B4CC-3DDEE6CDBBDC}"/>
          </ac:picMkLst>
        </pc:picChg>
        <pc:picChg chg="del">
          <ac:chgData name="Mili Diengdoh" userId="4e667e83-9d62-4727-9cfb-ee24b16ffb56" providerId="ADAL" clId="{3C044092-C018-48CA-B25B-616345ED741B}" dt="2020-07-14T11:10:48.204" v="5" actId="478"/>
          <ac:picMkLst>
            <pc:docMk/>
            <pc:sldMk cId="2052801764" sldId="1957"/>
            <ac:picMk id="67" creationId="{B7F37C1B-0016-4564-8AAB-225AC165E879}"/>
          </ac:picMkLst>
        </pc:picChg>
        <pc:picChg chg="del">
          <ac:chgData name="Mili Diengdoh" userId="4e667e83-9d62-4727-9cfb-ee24b16ffb56" providerId="ADAL" clId="{3C044092-C018-48CA-B25B-616345ED741B}" dt="2020-07-14T11:10:48.204" v="5" actId="478"/>
          <ac:picMkLst>
            <pc:docMk/>
            <pc:sldMk cId="2052801764" sldId="1957"/>
            <ac:picMk id="69" creationId="{B29CED74-D1D5-48A0-B874-94078F33BB1D}"/>
          </ac:picMkLst>
        </pc:picChg>
        <pc:picChg chg="del">
          <ac:chgData name="Mili Diengdoh" userId="4e667e83-9d62-4727-9cfb-ee24b16ffb56" providerId="ADAL" clId="{3C044092-C018-48CA-B25B-616345ED741B}" dt="2020-07-14T11:10:48.204" v="5" actId="478"/>
          <ac:picMkLst>
            <pc:docMk/>
            <pc:sldMk cId="2052801764" sldId="1957"/>
            <ac:picMk id="71" creationId="{ABC2B11C-86FE-4022-8C94-E36F039CD5F3}"/>
          </ac:picMkLst>
        </pc:picChg>
        <pc:picChg chg="del">
          <ac:chgData name="Mili Diengdoh" userId="4e667e83-9d62-4727-9cfb-ee24b16ffb56" providerId="ADAL" clId="{3C044092-C018-48CA-B25B-616345ED741B}" dt="2020-07-14T11:10:48.204" v="5" actId="478"/>
          <ac:picMkLst>
            <pc:docMk/>
            <pc:sldMk cId="2052801764" sldId="1957"/>
            <ac:picMk id="73" creationId="{7B703051-5453-4442-B361-10D078373CB8}"/>
          </ac:picMkLst>
        </pc:picChg>
        <pc:picChg chg="del">
          <ac:chgData name="Mili Diengdoh" userId="4e667e83-9d62-4727-9cfb-ee24b16ffb56" providerId="ADAL" clId="{3C044092-C018-48CA-B25B-616345ED741B}" dt="2020-07-14T11:10:48.204" v="5" actId="478"/>
          <ac:picMkLst>
            <pc:docMk/>
            <pc:sldMk cId="2052801764" sldId="1957"/>
            <ac:picMk id="75" creationId="{852BE29D-AD95-449A-A8BA-36BDAD0D3DD1}"/>
          </ac:picMkLst>
        </pc:picChg>
        <pc:picChg chg="add mod">
          <ac:chgData name="Mili Diengdoh" userId="4e667e83-9d62-4727-9cfb-ee24b16ffb56" providerId="ADAL" clId="{3C044092-C018-48CA-B25B-616345ED741B}" dt="2020-07-14T11:20:17.154" v="231" actId="13244"/>
          <ac:picMkLst>
            <pc:docMk/>
            <pc:sldMk cId="2052801764" sldId="1957"/>
            <ac:picMk id="84" creationId="{7174BE4C-88AE-4750-B1AF-7A97965DB966}"/>
          </ac:picMkLst>
        </pc:picChg>
        <pc:picChg chg="add del mod">
          <ac:chgData name="Mili Diengdoh" userId="4e667e83-9d62-4727-9cfb-ee24b16ffb56" providerId="ADAL" clId="{3C044092-C018-48CA-B25B-616345ED741B}" dt="2020-07-14T11:17:35.492" v="173" actId="478"/>
          <ac:picMkLst>
            <pc:docMk/>
            <pc:sldMk cId="2052801764" sldId="1957"/>
            <ac:picMk id="86" creationId="{D5805E80-DB21-44F7-B2FC-F1697D04058A}"/>
          </ac:picMkLst>
        </pc:picChg>
        <pc:picChg chg="add del">
          <ac:chgData name="Mili Diengdoh" userId="4e667e83-9d62-4727-9cfb-ee24b16ffb56" providerId="ADAL" clId="{3C044092-C018-48CA-B25B-616345ED741B}" dt="2020-07-14T11:17:13.027" v="161" actId="22"/>
          <ac:picMkLst>
            <pc:docMk/>
            <pc:sldMk cId="2052801764" sldId="1957"/>
            <ac:picMk id="88" creationId="{3DCE0BC5-15E2-4885-86A5-E8B7958076DB}"/>
          </ac:picMkLst>
        </pc:picChg>
        <pc:picChg chg="add mod">
          <ac:chgData name="Mili Diengdoh" userId="4e667e83-9d62-4727-9cfb-ee24b16ffb56" providerId="ADAL" clId="{3C044092-C018-48CA-B25B-616345ED741B}" dt="2020-07-14T11:20:06.349" v="229" actId="13244"/>
          <ac:picMkLst>
            <pc:docMk/>
            <pc:sldMk cId="2052801764" sldId="1957"/>
            <ac:picMk id="90" creationId="{BF4ADB7E-74D9-4B6F-8494-B728B8722A19}"/>
          </ac:picMkLst>
        </pc:picChg>
        <pc:picChg chg="add del mod topLvl">
          <ac:chgData name="Mili Diengdoh" userId="4e667e83-9d62-4727-9cfb-ee24b16ffb56" providerId="ADAL" clId="{3C044092-C018-48CA-B25B-616345ED741B}" dt="2020-07-14T11:18:29.600" v="187" actId="478"/>
          <ac:picMkLst>
            <pc:docMk/>
            <pc:sldMk cId="2052801764" sldId="1957"/>
            <ac:picMk id="92" creationId="{812FB637-E4C6-40D3-B1B1-91C527B7DA17}"/>
          </ac:picMkLst>
        </pc:picChg>
        <pc:picChg chg="add mod">
          <ac:chgData name="Mili Diengdoh" userId="4e667e83-9d62-4727-9cfb-ee24b16ffb56" providerId="ADAL" clId="{3C044092-C018-48CA-B25B-616345ED741B}" dt="2020-07-14T11:20:16.012" v="230" actId="13244"/>
          <ac:picMkLst>
            <pc:docMk/>
            <pc:sldMk cId="2052801764" sldId="1957"/>
            <ac:picMk id="95" creationId="{AFC64034-D953-4B56-A24F-A5D81664E26C}"/>
          </ac:picMkLst>
        </pc:picChg>
        <pc:picChg chg="add del mod">
          <ac:chgData name="Mili Diengdoh" userId="4e667e83-9d62-4727-9cfb-ee24b16ffb56" providerId="ADAL" clId="{3C044092-C018-48CA-B25B-616345ED741B}" dt="2020-07-14T11:18:48.376" v="199" actId="478"/>
          <ac:picMkLst>
            <pc:docMk/>
            <pc:sldMk cId="2052801764" sldId="1957"/>
            <ac:picMk id="97" creationId="{A4A3D87B-617D-4248-ACD3-DCBBEDC527DE}"/>
          </ac:picMkLst>
        </pc:picChg>
        <pc:picChg chg="add mod">
          <ac:chgData name="Mili Diengdoh" userId="4e667e83-9d62-4727-9cfb-ee24b16ffb56" providerId="ADAL" clId="{3C044092-C018-48CA-B25B-616345ED741B}" dt="2020-07-14T11:22:35.828" v="234" actId="13244"/>
          <ac:picMkLst>
            <pc:docMk/>
            <pc:sldMk cId="2052801764" sldId="1957"/>
            <ac:picMk id="99" creationId="{DB2B5E74-B89A-4EFB-A96E-69659CF24A27}"/>
          </ac:picMkLst>
        </pc:picChg>
        <pc:picChg chg="add del mod">
          <ac:chgData name="Mili Diengdoh" userId="4e667e83-9d62-4727-9cfb-ee24b16ffb56" providerId="ADAL" clId="{3C044092-C018-48CA-B25B-616345ED741B}" dt="2020-07-14T11:19:20.178" v="217" actId="478"/>
          <ac:picMkLst>
            <pc:docMk/>
            <pc:sldMk cId="2052801764" sldId="1957"/>
            <ac:picMk id="101" creationId="{2C3C7B4D-2A44-4A63-94E0-0EB3EA9EA960}"/>
          </ac:picMkLst>
        </pc:picChg>
        <pc:picChg chg="add mod">
          <ac:chgData name="Mili Diengdoh" userId="4e667e83-9d62-4727-9cfb-ee24b16ffb56" providerId="ADAL" clId="{3C044092-C018-48CA-B25B-616345ED741B}" dt="2020-07-14T11:22:36.900" v="235" actId="13244"/>
          <ac:picMkLst>
            <pc:docMk/>
            <pc:sldMk cId="2052801764" sldId="1957"/>
            <ac:picMk id="103" creationId="{DB2E0F87-D44B-41A1-B051-D2F17123CE53}"/>
          </ac:picMkLst>
        </pc:picChg>
        <pc:picChg chg="add mod">
          <ac:chgData name="Mili Diengdoh" userId="4e667e83-9d62-4727-9cfb-ee24b16ffb56" providerId="ADAL" clId="{3C044092-C018-48CA-B25B-616345ED741B}" dt="2020-07-14T11:19:59.689" v="228" actId="13244"/>
          <ac:picMkLst>
            <pc:docMk/>
            <pc:sldMk cId="2052801764" sldId="1957"/>
            <ac:picMk id="105" creationId="{419011EC-AB8C-4485-89D8-55006B0F7FFB}"/>
          </ac:picMkLst>
        </pc:picChg>
        <pc:cxnChg chg="add mod">
          <ac:chgData name="Mili Diengdoh" userId="4e667e83-9d62-4727-9cfb-ee24b16ffb56" providerId="ADAL" clId="{3C044092-C018-48CA-B25B-616345ED741B}" dt="2020-07-14T11:12:15.710" v="32" actId="14100"/>
          <ac:cxnSpMkLst>
            <pc:docMk/>
            <pc:sldMk cId="2052801764" sldId="1957"/>
            <ac:cxnSpMk id="21" creationId="{CD74FF1A-66E6-4C63-BC0D-2CDCB40FB0AB}"/>
          </ac:cxnSpMkLst>
        </pc:cxnChg>
        <pc:cxnChg chg="add mod">
          <ac:chgData name="Mili Diengdoh" userId="4e667e83-9d62-4727-9cfb-ee24b16ffb56" providerId="ADAL" clId="{3C044092-C018-48CA-B25B-616345ED741B}" dt="2020-07-14T11:12:15.710" v="32" actId="14100"/>
          <ac:cxnSpMkLst>
            <pc:docMk/>
            <pc:sldMk cId="2052801764" sldId="1957"/>
            <ac:cxnSpMk id="24" creationId="{CCE99C89-B9B0-4EB7-90B2-A235A402C262}"/>
          </ac:cxnSpMkLst>
        </pc:cxnChg>
        <pc:cxnChg chg="add mod">
          <ac:chgData name="Mili Diengdoh" userId="4e667e83-9d62-4727-9cfb-ee24b16ffb56" providerId="ADAL" clId="{3C044092-C018-48CA-B25B-616345ED741B}" dt="2020-07-14T11:12:15.710" v="32" actId="14100"/>
          <ac:cxnSpMkLst>
            <pc:docMk/>
            <pc:sldMk cId="2052801764" sldId="1957"/>
            <ac:cxnSpMk id="27" creationId="{CCEDCCE7-A453-41AE-9816-280307C8CFDF}"/>
          </ac:cxnSpMkLst>
        </pc:cxnChg>
        <pc:cxnChg chg="add mod">
          <ac:chgData name="Mili Diengdoh" userId="4e667e83-9d62-4727-9cfb-ee24b16ffb56" providerId="ADAL" clId="{3C044092-C018-48CA-B25B-616345ED741B}" dt="2020-07-14T11:12:45.367" v="46" actId="1038"/>
          <ac:cxnSpMkLst>
            <pc:docMk/>
            <pc:sldMk cId="2052801764" sldId="1957"/>
            <ac:cxnSpMk id="48" creationId="{3C1E44B0-0728-4B3D-A558-A213BD24AC5A}"/>
          </ac:cxnSpMkLst>
        </pc:cxnChg>
        <pc:cxnChg chg="add mod">
          <ac:chgData name="Mili Diengdoh" userId="4e667e83-9d62-4727-9cfb-ee24b16ffb56" providerId="ADAL" clId="{3C044092-C018-48CA-B25B-616345ED741B}" dt="2020-07-14T11:12:45.367" v="46" actId="1038"/>
          <ac:cxnSpMkLst>
            <pc:docMk/>
            <pc:sldMk cId="2052801764" sldId="1957"/>
            <ac:cxnSpMk id="50" creationId="{DE51271D-8F95-410D-8599-972336ADA447}"/>
          </ac:cxnSpMkLst>
        </pc:cxnChg>
      </pc:sldChg>
      <pc:sldMasterChg chg="modSldLayout">
        <pc:chgData name="Mili Diengdoh" userId="4e667e83-9d62-4727-9cfb-ee24b16ffb56" providerId="ADAL" clId="{3C044092-C018-48CA-B25B-616345ED741B}" dt="2020-07-15T16:17:32.215" v="1443" actId="478"/>
        <pc:sldMasterMkLst>
          <pc:docMk/>
          <pc:sldMasterMk cId="1881724970" sldId="2147484551"/>
        </pc:sldMasterMkLst>
        <pc:sldLayoutChg chg="modSp">
          <pc:chgData name="Mili Diengdoh" userId="4e667e83-9d62-4727-9cfb-ee24b16ffb56" providerId="ADAL" clId="{3C044092-C018-48CA-B25B-616345ED741B}" dt="2020-07-14T12:29:39.865" v="1144" actId="13244"/>
          <pc:sldLayoutMkLst>
            <pc:docMk/>
            <pc:sldMasterMk cId="1881724970" sldId="2147484551"/>
            <pc:sldLayoutMk cId="3842161821" sldId="2147484583"/>
          </pc:sldLayoutMkLst>
          <pc:picChg chg="mod">
            <ac:chgData name="Mili Diengdoh" userId="4e667e83-9d62-4727-9cfb-ee24b16ffb56" providerId="ADAL" clId="{3C044092-C018-48CA-B25B-616345ED741B}" dt="2020-07-14T12:29:39.865" v="1144" actId="13244"/>
            <ac:picMkLst>
              <pc:docMk/>
              <pc:sldMasterMk cId="1881724970" sldId="2147484551"/>
              <pc:sldLayoutMk cId="3842161821" sldId="2147484583"/>
              <ac:picMk id="11" creationId="{AFDC29EE-BDE7-4363-B0FC-728521A36665}"/>
            </ac:picMkLst>
          </pc:picChg>
        </pc:sldLayoutChg>
        <pc:sldLayoutChg chg="modSp mod">
          <pc:chgData name="Mili Diengdoh" userId="4e667e83-9d62-4727-9cfb-ee24b16ffb56" providerId="ADAL" clId="{3C044092-C018-48CA-B25B-616345ED741B}" dt="2020-07-14T11:28:45.201" v="252" actId="255"/>
          <pc:sldLayoutMkLst>
            <pc:docMk/>
            <pc:sldMasterMk cId="1881724970" sldId="2147484551"/>
            <pc:sldLayoutMk cId="3196120295" sldId="2147484622"/>
          </pc:sldLayoutMkLst>
          <pc:spChg chg="mod">
            <ac:chgData name="Mili Diengdoh" userId="4e667e83-9d62-4727-9cfb-ee24b16ffb56" providerId="ADAL" clId="{3C044092-C018-48CA-B25B-616345ED741B}" dt="2020-07-14T11:28:45.201" v="252" actId="255"/>
            <ac:spMkLst>
              <pc:docMk/>
              <pc:sldMasterMk cId="1881724970" sldId="2147484551"/>
              <pc:sldLayoutMk cId="3196120295" sldId="2147484622"/>
              <ac:spMk id="4" creationId="{D1FDE817-4581-481C-9C54-D23C2F82ACA3}"/>
            </ac:spMkLst>
          </pc:spChg>
        </pc:sldLayoutChg>
        <pc:sldLayoutChg chg="delSp mod">
          <pc:chgData name="Mili Diengdoh" userId="4e667e83-9d62-4727-9cfb-ee24b16ffb56" providerId="ADAL" clId="{3C044092-C018-48CA-B25B-616345ED741B}" dt="2020-07-15T16:17:32.215" v="1443" actId="478"/>
          <pc:sldLayoutMkLst>
            <pc:docMk/>
            <pc:sldMasterMk cId="1881724970" sldId="2147484551"/>
            <pc:sldLayoutMk cId="2254410227" sldId="2147484623"/>
          </pc:sldLayoutMkLst>
          <pc:spChg chg="del">
            <ac:chgData name="Mili Diengdoh" userId="4e667e83-9d62-4727-9cfb-ee24b16ffb56" providerId="ADAL" clId="{3C044092-C018-48CA-B25B-616345ED741B}" dt="2020-07-15T16:17:32.215" v="1443" actId="478"/>
            <ac:spMkLst>
              <pc:docMk/>
              <pc:sldMasterMk cId="1881724970" sldId="2147484551"/>
              <pc:sldLayoutMk cId="2254410227" sldId="2147484623"/>
              <ac:spMk id="12" creationId="{A8F5F40B-56C9-1D43-9521-8583515F1C5D}"/>
            </ac:spMkLst>
          </pc:spChg>
        </pc:sldLayoutChg>
      </pc:sldMasterChg>
    </pc:docChg>
  </pc:docChgLst>
  <pc:docChgLst>
    <pc:chgData name="Wanlambok Nongbet [Chillibreeze]" userId="6bf028ea-505a-4797-9fbe-498829f78d74" providerId="ADAL" clId="{D423623C-0D7B-41B6-8186-ACFA5E02DFCB}"/>
    <pc:docChg chg="modSld">
      <pc:chgData name="Wanlambok Nongbet [Chillibreeze]" userId="6bf028ea-505a-4797-9fbe-498829f78d74" providerId="ADAL" clId="{D423623C-0D7B-41B6-8186-ACFA5E02DFCB}" dt="2020-07-15T13:27:34.093" v="0" actId="2711"/>
      <pc:docMkLst>
        <pc:docMk/>
      </pc:docMkLst>
      <pc:sldChg chg="modSp mod">
        <pc:chgData name="Wanlambok Nongbet [Chillibreeze]" userId="6bf028ea-505a-4797-9fbe-498829f78d74" providerId="ADAL" clId="{D423623C-0D7B-41B6-8186-ACFA5E02DFCB}" dt="2020-07-15T13:27:34.093" v="0" actId="2711"/>
        <pc:sldMkLst>
          <pc:docMk/>
          <pc:sldMk cId="316322398" sldId="1870"/>
        </pc:sldMkLst>
        <pc:spChg chg="mod">
          <ac:chgData name="Wanlambok Nongbet [Chillibreeze]" userId="6bf028ea-505a-4797-9fbe-498829f78d74" providerId="ADAL" clId="{D423623C-0D7B-41B6-8186-ACFA5E02DFCB}" dt="2020-07-15T13:27:34.093" v="0" actId="2711"/>
          <ac:spMkLst>
            <pc:docMk/>
            <pc:sldMk cId="316322398" sldId="1870"/>
            <ac:spMk id="4" creationId="{5D010595-CC0F-4F28-A32C-2291A9AFD36C}"/>
          </ac:spMkLst>
        </pc:spChg>
        <pc:spChg chg="mod">
          <ac:chgData name="Wanlambok Nongbet [Chillibreeze]" userId="6bf028ea-505a-4797-9fbe-498829f78d74" providerId="ADAL" clId="{D423623C-0D7B-41B6-8186-ACFA5E02DFCB}" dt="2020-07-15T13:27:34.093" v="0" actId="2711"/>
          <ac:spMkLst>
            <pc:docMk/>
            <pc:sldMk cId="316322398" sldId="1870"/>
            <ac:spMk id="6" creationId="{3002A13C-E37E-468F-A120-048FE42E8A1D}"/>
          </ac:spMkLst>
        </pc:spChg>
        <pc:spChg chg="mod">
          <ac:chgData name="Wanlambok Nongbet [Chillibreeze]" userId="6bf028ea-505a-4797-9fbe-498829f78d74" providerId="ADAL" clId="{D423623C-0D7B-41B6-8186-ACFA5E02DFCB}" dt="2020-07-15T13:27:34.093" v="0" actId="2711"/>
          <ac:spMkLst>
            <pc:docMk/>
            <pc:sldMk cId="316322398" sldId="1870"/>
            <ac:spMk id="8" creationId="{5DC326C0-FA8B-4A35-B0AF-748BDD70EE0A}"/>
          </ac:spMkLst>
        </pc:spChg>
        <pc:spChg chg="mod">
          <ac:chgData name="Wanlambok Nongbet [Chillibreeze]" userId="6bf028ea-505a-4797-9fbe-498829f78d74" providerId="ADAL" clId="{D423623C-0D7B-41B6-8186-ACFA5E02DFCB}" dt="2020-07-15T13:27:34.093" v="0" actId="2711"/>
          <ac:spMkLst>
            <pc:docMk/>
            <pc:sldMk cId="316322398" sldId="1870"/>
            <ac:spMk id="10" creationId="{389457DD-6567-4613-8249-11B85AA087A3}"/>
          </ac:spMkLst>
        </pc:spChg>
        <pc:spChg chg="mod">
          <ac:chgData name="Wanlambok Nongbet [Chillibreeze]" userId="6bf028ea-505a-4797-9fbe-498829f78d74" providerId="ADAL" clId="{D423623C-0D7B-41B6-8186-ACFA5E02DFCB}" dt="2020-07-15T13:27:34.093" v="0" actId="2711"/>
          <ac:spMkLst>
            <pc:docMk/>
            <pc:sldMk cId="316322398" sldId="1870"/>
            <ac:spMk id="34" creationId="{265CC495-1E8F-4337-AE71-0775ED616727}"/>
          </ac:spMkLst>
        </pc:spChg>
      </pc:sldChg>
    </pc:docChg>
  </pc:docChgLst>
  <pc:docChgLst>
    <pc:chgData name="Vincent Kharsyad [Chillibreeze]" userId="S::vincent.k@chillibreeze.com::7b5f9e7a-8cb6-4e11-ad75-0918041740fe" providerId="AD" clId="Web-{6C30FAD6-82CF-604B-E989-0957C08E8143}"/>
    <pc:docChg chg="modSld">
      <pc:chgData name="Vincent Kharsyad [Chillibreeze]" userId="S::vincent.k@chillibreeze.com::7b5f9e7a-8cb6-4e11-ad75-0918041740fe" providerId="AD" clId="Web-{6C30FAD6-82CF-604B-E989-0957C08E8143}" dt="2020-07-13T05:39:24.948" v="35" actId="20577"/>
      <pc:docMkLst>
        <pc:docMk/>
      </pc:docMkLst>
      <pc:sldChg chg="modSp">
        <pc:chgData name="Vincent Kharsyad [Chillibreeze]" userId="S::vincent.k@chillibreeze.com::7b5f9e7a-8cb6-4e11-ad75-0918041740fe" providerId="AD" clId="Web-{6C30FAD6-82CF-604B-E989-0957C08E8143}" dt="2020-07-13T05:39:23.292" v="33" actId="20577"/>
        <pc:sldMkLst>
          <pc:docMk/>
          <pc:sldMk cId="1796562944" sldId="1940"/>
        </pc:sldMkLst>
        <pc:spChg chg="mod">
          <ac:chgData name="Vincent Kharsyad [Chillibreeze]" userId="S::vincent.k@chillibreeze.com::7b5f9e7a-8cb6-4e11-ad75-0918041740fe" providerId="AD" clId="Web-{6C30FAD6-82CF-604B-E989-0957C08E8143}" dt="2020-07-13T05:38:44.526" v="8" actId="20577"/>
          <ac:spMkLst>
            <pc:docMk/>
            <pc:sldMk cId="1796562944" sldId="1940"/>
            <ac:spMk id="8" creationId="{8D1755F2-E779-46F6-9486-D8FE533CE7C5}"/>
          </ac:spMkLst>
        </pc:spChg>
        <pc:spChg chg="mod">
          <ac:chgData name="Vincent Kharsyad [Chillibreeze]" userId="S::vincent.k@chillibreeze.com::7b5f9e7a-8cb6-4e11-ad75-0918041740fe" providerId="AD" clId="Web-{6C30FAD6-82CF-604B-E989-0957C08E8143}" dt="2020-07-13T05:37:48.166" v="0" actId="20577"/>
          <ac:spMkLst>
            <pc:docMk/>
            <pc:sldMk cId="1796562944" sldId="1940"/>
            <ac:spMk id="13" creationId="{4A6377D6-A59A-43AB-973B-2CB5CC71E554}"/>
          </ac:spMkLst>
        </pc:spChg>
        <pc:spChg chg="mod">
          <ac:chgData name="Vincent Kharsyad [Chillibreeze]" userId="S::vincent.k@chillibreeze.com::7b5f9e7a-8cb6-4e11-ad75-0918041740fe" providerId="AD" clId="Web-{6C30FAD6-82CF-604B-E989-0957C08E8143}" dt="2020-07-13T05:38:59.885" v="12" actId="20577"/>
          <ac:spMkLst>
            <pc:docMk/>
            <pc:sldMk cId="1796562944" sldId="1940"/>
            <ac:spMk id="18" creationId="{5F5266DF-C1B5-4066-8432-06FE4AADDEF0}"/>
          </ac:spMkLst>
        </pc:spChg>
        <pc:spChg chg="mod">
          <ac:chgData name="Vincent Kharsyad [Chillibreeze]" userId="S::vincent.k@chillibreeze.com::7b5f9e7a-8cb6-4e11-ad75-0918041740fe" providerId="AD" clId="Web-{6C30FAD6-82CF-604B-E989-0957C08E8143}" dt="2020-07-13T05:39:09.151" v="21" actId="20577"/>
          <ac:spMkLst>
            <pc:docMk/>
            <pc:sldMk cId="1796562944" sldId="1940"/>
            <ac:spMk id="23" creationId="{78EE1FDC-AF50-4A3E-85DC-91240E857109}"/>
          </ac:spMkLst>
        </pc:spChg>
        <pc:spChg chg="mod">
          <ac:chgData name="Vincent Kharsyad [Chillibreeze]" userId="S::vincent.k@chillibreeze.com::7b5f9e7a-8cb6-4e11-ad75-0918041740fe" providerId="AD" clId="Web-{6C30FAD6-82CF-604B-E989-0957C08E8143}" dt="2020-07-13T05:39:15.417" v="26" actId="20577"/>
          <ac:spMkLst>
            <pc:docMk/>
            <pc:sldMk cId="1796562944" sldId="1940"/>
            <ac:spMk id="28" creationId="{6536AC0E-F8DE-4FBE-A536-7CC0E393FD17}"/>
          </ac:spMkLst>
        </pc:spChg>
        <pc:spChg chg="mod">
          <ac:chgData name="Vincent Kharsyad [Chillibreeze]" userId="S::vincent.k@chillibreeze.com::7b5f9e7a-8cb6-4e11-ad75-0918041740fe" providerId="AD" clId="Web-{6C30FAD6-82CF-604B-E989-0957C08E8143}" dt="2020-07-13T05:39:23.292" v="33" actId="20577"/>
          <ac:spMkLst>
            <pc:docMk/>
            <pc:sldMk cId="1796562944" sldId="1940"/>
            <ac:spMk id="38" creationId="{3D374E96-0C7D-4749-B9A7-830A5A6CDF25}"/>
          </ac:spMkLst>
        </pc:spChg>
      </pc:sldChg>
    </pc:docChg>
  </pc:docChgLst>
  <pc:docChgLst>
    <pc:chgData name="Wanlambok Nongbet [Chillibreeze]" userId="6bf028ea-505a-4797-9fbe-498829f78d74" providerId="ADAL" clId="{011676D3-0B12-413A-B510-935453A77DA2}"/>
    <pc:docChg chg="modSld">
      <pc:chgData name="Wanlambok Nongbet [Chillibreeze]" userId="6bf028ea-505a-4797-9fbe-498829f78d74" providerId="ADAL" clId="{011676D3-0B12-413A-B510-935453A77DA2}" dt="2020-07-14T11:27:58.495" v="0" actId="14100"/>
      <pc:docMkLst>
        <pc:docMk/>
      </pc:docMkLst>
      <pc:sldChg chg="modSp mod">
        <pc:chgData name="Wanlambok Nongbet [Chillibreeze]" userId="6bf028ea-505a-4797-9fbe-498829f78d74" providerId="ADAL" clId="{011676D3-0B12-413A-B510-935453A77DA2}" dt="2020-07-14T11:27:58.495" v="0" actId="14100"/>
        <pc:sldMkLst>
          <pc:docMk/>
          <pc:sldMk cId="2122675882" sldId="1915"/>
        </pc:sldMkLst>
        <pc:spChg chg="mod">
          <ac:chgData name="Wanlambok Nongbet [Chillibreeze]" userId="6bf028ea-505a-4797-9fbe-498829f78d74" providerId="ADAL" clId="{011676D3-0B12-413A-B510-935453A77DA2}" dt="2020-07-14T11:27:58.495" v="0" actId="14100"/>
          <ac:spMkLst>
            <pc:docMk/>
            <pc:sldMk cId="2122675882" sldId="1915"/>
            <ac:spMk id="20" creationId="{C6A7215A-1280-419B-860B-B27C61890923}"/>
          </ac:spMkLst>
        </pc:spChg>
      </pc:sldChg>
    </pc:docChg>
  </pc:docChgLst>
  <pc:docChgLst>
    <pc:chgData name="Ashia Sheikh [Chillibreeze]" userId="6452a783-bade-4cce-97f1-f56691f8b6f5" providerId="ADAL" clId="{C4277803-8169-4C3E-9E1E-6FCCF2738B13}"/>
    <pc:docChg chg="modSld">
      <pc:chgData name="Ashia Sheikh [Chillibreeze]" userId="6452a783-bade-4cce-97f1-f56691f8b6f5" providerId="ADAL" clId="{C4277803-8169-4C3E-9E1E-6FCCF2738B13}" dt="2020-07-15T15:51:42.741" v="0" actId="465"/>
      <pc:docMkLst>
        <pc:docMk/>
      </pc:docMkLst>
      <pc:sldChg chg="modSp mod">
        <pc:chgData name="Ashia Sheikh [Chillibreeze]" userId="6452a783-bade-4cce-97f1-f56691f8b6f5" providerId="ADAL" clId="{C4277803-8169-4C3E-9E1E-6FCCF2738B13}" dt="2020-07-15T15:51:42.741" v="0" actId="465"/>
        <pc:sldMkLst>
          <pc:docMk/>
          <pc:sldMk cId="2334485022" sldId="1950"/>
        </pc:sldMkLst>
        <pc:cxnChg chg="mod">
          <ac:chgData name="Ashia Sheikh [Chillibreeze]" userId="6452a783-bade-4cce-97f1-f56691f8b6f5" providerId="ADAL" clId="{C4277803-8169-4C3E-9E1E-6FCCF2738B13}" dt="2020-07-15T15:51:42.741" v="0" actId="465"/>
          <ac:cxnSpMkLst>
            <pc:docMk/>
            <pc:sldMk cId="2334485022" sldId="1950"/>
            <ac:cxnSpMk id="39" creationId="{EEF31729-A47D-4460-B5FF-28C9E0DE0B6D}"/>
          </ac:cxnSpMkLst>
        </pc:cxnChg>
      </pc:sldChg>
    </pc:docChg>
  </pc:docChgLst>
  <pc:docChgLst>
    <pc:chgData name="Vincent Kharsyad [Chillibreeze]" userId="7b5f9e7a-8cb6-4e11-ad75-0918041740fe" providerId="ADAL" clId="{1E37DBC6-34A7-4D8E-B235-13DE4D4B4098}"/>
    <pc:docChg chg="undo custSel modSld">
      <pc:chgData name="Vincent Kharsyad [Chillibreeze]" userId="7b5f9e7a-8cb6-4e11-ad75-0918041740fe" providerId="ADAL" clId="{1E37DBC6-34A7-4D8E-B235-13DE4D4B4098}" dt="2020-07-11T04:32:59.915" v="223" actId="164"/>
      <pc:docMkLst>
        <pc:docMk/>
      </pc:docMkLst>
      <pc:sldChg chg="addSp delSp modSp mod">
        <pc:chgData name="Vincent Kharsyad [Chillibreeze]" userId="7b5f9e7a-8cb6-4e11-ad75-0918041740fe" providerId="ADAL" clId="{1E37DBC6-34A7-4D8E-B235-13DE4D4B4098}" dt="2020-07-10T18:30:50.357" v="78" actId="14100"/>
        <pc:sldMkLst>
          <pc:docMk/>
          <pc:sldMk cId="1301972457" sldId="1511"/>
        </pc:sldMkLst>
        <pc:spChg chg="mod">
          <ac:chgData name="Vincent Kharsyad [Chillibreeze]" userId="7b5f9e7a-8cb6-4e11-ad75-0918041740fe" providerId="ADAL" clId="{1E37DBC6-34A7-4D8E-B235-13DE4D4B4098}" dt="2020-07-10T18:30:39.656" v="75" actId="14100"/>
          <ac:spMkLst>
            <pc:docMk/>
            <pc:sldMk cId="1301972457" sldId="1511"/>
            <ac:spMk id="5" creationId="{34F18174-5185-4C41-9A4B-004E642CF798}"/>
          </ac:spMkLst>
        </pc:spChg>
        <pc:spChg chg="mod">
          <ac:chgData name="Vincent Kharsyad [Chillibreeze]" userId="7b5f9e7a-8cb6-4e11-ad75-0918041740fe" providerId="ADAL" clId="{1E37DBC6-34A7-4D8E-B235-13DE4D4B4098}" dt="2020-07-10T18:30:43.540" v="76" actId="14100"/>
          <ac:spMkLst>
            <pc:docMk/>
            <pc:sldMk cId="1301972457" sldId="1511"/>
            <ac:spMk id="7" creationId="{C9921934-84FB-43C1-BA3E-BFDB4BB0080D}"/>
          </ac:spMkLst>
        </pc:spChg>
        <pc:spChg chg="mod">
          <ac:chgData name="Vincent Kharsyad [Chillibreeze]" userId="7b5f9e7a-8cb6-4e11-ad75-0918041740fe" providerId="ADAL" clId="{1E37DBC6-34A7-4D8E-B235-13DE4D4B4098}" dt="2020-07-10T18:30:47.060" v="77" actId="14100"/>
          <ac:spMkLst>
            <pc:docMk/>
            <pc:sldMk cId="1301972457" sldId="1511"/>
            <ac:spMk id="10" creationId="{0B529BE9-A9DC-4E58-8720-E4C5C19D35BA}"/>
          </ac:spMkLst>
        </pc:spChg>
        <pc:spChg chg="mod">
          <ac:chgData name="Vincent Kharsyad [Chillibreeze]" userId="7b5f9e7a-8cb6-4e11-ad75-0918041740fe" providerId="ADAL" clId="{1E37DBC6-34A7-4D8E-B235-13DE4D4B4098}" dt="2020-07-10T18:30:50.357" v="78" actId="14100"/>
          <ac:spMkLst>
            <pc:docMk/>
            <pc:sldMk cId="1301972457" sldId="1511"/>
            <ac:spMk id="12" creationId="{67851E99-1163-46A4-A7A6-A86052DE0BD0}"/>
          </ac:spMkLst>
        </pc:spChg>
        <pc:grpChg chg="mod">
          <ac:chgData name="Vincent Kharsyad [Chillibreeze]" userId="7b5f9e7a-8cb6-4e11-ad75-0918041740fe" providerId="ADAL" clId="{1E37DBC6-34A7-4D8E-B235-13DE4D4B4098}" dt="2020-07-10T18:30:05.543" v="69" actId="1037"/>
          <ac:grpSpMkLst>
            <pc:docMk/>
            <pc:sldMk cId="1301972457" sldId="1511"/>
            <ac:grpSpMk id="3" creationId="{E68BAD13-9599-42E4-8B00-8A7DA8B536B2}"/>
          </ac:grpSpMkLst>
        </pc:grpChg>
        <pc:grpChg chg="mod">
          <ac:chgData name="Vincent Kharsyad [Chillibreeze]" userId="7b5f9e7a-8cb6-4e11-ad75-0918041740fe" providerId="ADAL" clId="{1E37DBC6-34A7-4D8E-B235-13DE4D4B4098}" dt="2020-07-10T18:30:05.543" v="69" actId="1037"/>
          <ac:grpSpMkLst>
            <pc:docMk/>
            <pc:sldMk cId="1301972457" sldId="1511"/>
            <ac:grpSpMk id="13" creationId="{D0884BA2-989D-4B0A-809A-68495319FD18}"/>
          </ac:grpSpMkLst>
        </pc:grpChg>
        <pc:grpChg chg="mod">
          <ac:chgData name="Vincent Kharsyad [Chillibreeze]" userId="7b5f9e7a-8cb6-4e11-ad75-0918041740fe" providerId="ADAL" clId="{1E37DBC6-34A7-4D8E-B235-13DE4D4B4098}" dt="2020-07-10T18:30:05.543" v="69" actId="1037"/>
          <ac:grpSpMkLst>
            <pc:docMk/>
            <pc:sldMk cId="1301972457" sldId="1511"/>
            <ac:grpSpMk id="14" creationId="{2AA4756F-5B35-4289-B62F-DB68E309B9B5}"/>
          </ac:grpSpMkLst>
        </pc:grpChg>
        <pc:grpChg chg="mod">
          <ac:chgData name="Vincent Kharsyad [Chillibreeze]" userId="7b5f9e7a-8cb6-4e11-ad75-0918041740fe" providerId="ADAL" clId="{1E37DBC6-34A7-4D8E-B235-13DE4D4B4098}" dt="2020-07-10T18:30:05.543" v="69" actId="1037"/>
          <ac:grpSpMkLst>
            <pc:docMk/>
            <pc:sldMk cId="1301972457" sldId="1511"/>
            <ac:grpSpMk id="15" creationId="{CC27E04D-C697-48F2-9BA8-683128E4F211}"/>
          </ac:grpSpMkLst>
        </pc:grpChg>
        <pc:grpChg chg="add del mod">
          <ac:chgData name="Vincent Kharsyad [Chillibreeze]" userId="7b5f9e7a-8cb6-4e11-ad75-0918041740fe" providerId="ADAL" clId="{1E37DBC6-34A7-4D8E-B235-13DE4D4B4098}" dt="2020-07-10T18:30:28.789" v="73" actId="165"/>
          <ac:grpSpMkLst>
            <pc:docMk/>
            <pc:sldMk cId="1301972457" sldId="1511"/>
            <ac:grpSpMk id="30" creationId="{9A247703-33DA-45E2-A438-FA7F67EB15F1}"/>
          </ac:grpSpMkLst>
        </pc:grpChg>
        <pc:cxnChg chg="mod topLvl">
          <ac:chgData name="Vincent Kharsyad [Chillibreeze]" userId="7b5f9e7a-8cb6-4e11-ad75-0918041740fe" providerId="ADAL" clId="{1E37DBC6-34A7-4D8E-B235-13DE4D4B4098}" dt="2020-07-10T18:30:35.558" v="74" actId="552"/>
          <ac:cxnSpMkLst>
            <pc:docMk/>
            <pc:sldMk cId="1301972457" sldId="1511"/>
            <ac:cxnSpMk id="8" creationId="{66E335E5-AA1C-420A-8BD2-F24A2761F84A}"/>
          </ac:cxnSpMkLst>
        </pc:cxnChg>
        <pc:cxnChg chg="mod topLvl">
          <ac:chgData name="Vincent Kharsyad [Chillibreeze]" userId="7b5f9e7a-8cb6-4e11-ad75-0918041740fe" providerId="ADAL" clId="{1E37DBC6-34A7-4D8E-B235-13DE4D4B4098}" dt="2020-07-10T18:30:28.789" v="73" actId="165"/>
          <ac:cxnSpMkLst>
            <pc:docMk/>
            <pc:sldMk cId="1301972457" sldId="1511"/>
            <ac:cxnSpMk id="17" creationId="{269C22AB-8FDA-4B01-8F9E-06EB0DB6054B}"/>
          </ac:cxnSpMkLst>
        </pc:cxnChg>
        <pc:cxnChg chg="mod topLvl">
          <ac:chgData name="Vincent Kharsyad [Chillibreeze]" userId="7b5f9e7a-8cb6-4e11-ad75-0918041740fe" providerId="ADAL" clId="{1E37DBC6-34A7-4D8E-B235-13DE4D4B4098}" dt="2020-07-10T18:30:28.789" v="73" actId="165"/>
          <ac:cxnSpMkLst>
            <pc:docMk/>
            <pc:sldMk cId="1301972457" sldId="1511"/>
            <ac:cxnSpMk id="18" creationId="{4C6D91F7-F413-4A0A-870D-3AA06F449826}"/>
          </ac:cxnSpMkLst>
        </pc:cxnChg>
      </pc:sldChg>
      <pc:sldChg chg="addSp modSp mod">
        <pc:chgData name="Vincent Kharsyad [Chillibreeze]" userId="7b5f9e7a-8cb6-4e11-ad75-0918041740fe" providerId="ADAL" clId="{1E37DBC6-34A7-4D8E-B235-13DE4D4B4098}" dt="2020-07-11T04:32:59.915" v="223" actId="164"/>
        <pc:sldMkLst>
          <pc:docMk/>
          <pc:sldMk cId="316322398" sldId="1870"/>
        </pc:sldMkLst>
        <pc:spChg chg="add mod">
          <ac:chgData name="Vincent Kharsyad [Chillibreeze]" userId="7b5f9e7a-8cb6-4e11-ad75-0918041740fe" providerId="ADAL" clId="{1E37DBC6-34A7-4D8E-B235-13DE4D4B4098}" dt="2020-07-11T04:32:59.915" v="223" actId="164"/>
          <ac:spMkLst>
            <pc:docMk/>
            <pc:sldMk cId="316322398" sldId="1870"/>
            <ac:spMk id="9" creationId="{3692AEA8-7E4A-456C-B05E-F1C22306820B}"/>
          </ac:spMkLst>
        </pc:spChg>
        <pc:spChg chg="mod">
          <ac:chgData name="Vincent Kharsyad [Chillibreeze]" userId="7b5f9e7a-8cb6-4e11-ad75-0918041740fe" providerId="ADAL" clId="{1E37DBC6-34A7-4D8E-B235-13DE4D4B4098}" dt="2020-07-11T04:30:25.146" v="160" actId="164"/>
          <ac:spMkLst>
            <pc:docMk/>
            <pc:sldMk cId="316322398" sldId="1870"/>
            <ac:spMk id="18" creationId="{D2DF32ED-F30C-4A47-90A3-B19FD83B76CD}"/>
          </ac:spMkLst>
        </pc:spChg>
        <pc:spChg chg="mod">
          <ac:chgData name="Vincent Kharsyad [Chillibreeze]" userId="7b5f9e7a-8cb6-4e11-ad75-0918041740fe" providerId="ADAL" clId="{1E37DBC6-34A7-4D8E-B235-13DE4D4B4098}" dt="2020-07-11T04:30:25.146" v="160" actId="164"/>
          <ac:spMkLst>
            <pc:docMk/>
            <pc:sldMk cId="316322398" sldId="1870"/>
            <ac:spMk id="19" creationId="{4AFB65EE-26A2-4AEF-8BEF-754BC3533E29}"/>
          </ac:spMkLst>
        </pc:spChg>
        <pc:spChg chg="mod">
          <ac:chgData name="Vincent Kharsyad [Chillibreeze]" userId="7b5f9e7a-8cb6-4e11-ad75-0918041740fe" providerId="ADAL" clId="{1E37DBC6-34A7-4D8E-B235-13DE4D4B4098}" dt="2020-07-11T04:32:09.545" v="202" actId="164"/>
          <ac:spMkLst>
            <pc:docMk/>
            <pc:sldMk cId="316322398" sldId="1870"/>
            <ac:spMk id="21" creationId="{F49F6868-05F1-4EE4-A1A2-F0A08C944653}"/>
          </ac:spMkLst>
        </pc:spChg>
        <pc:spChg chg="mod">
          <ac:chgData name="Vincent Kharsyad [Chillibreeze]" userId="7b5f9e7a-8cb6-4e11-ad75-0918041740fe" providerId="ADAL" clId="{1E37DBC6-34A7-4D8E-B235-13DE4D4B4098}" dt="2020-07-11T04:32:09.545" v="202" actId="164"/>
          <ac:spMkLst>
            <pc:docMk/>
            <pc:sldMk cId="316322398" sldId="1870"/>
            <ac:spMk id="22" creationId="{D1862062-183F-4FD5-B71D-DB7202ABE5E4}"/>
          </ac:spMkLst>
        </pc:spChg>
        <pc:spChg chg="add mod">
          <ac:chgData name="Vincent Kharsyad [Chillibreeze]" userId="7b5f9e7a-8cb6-4e11-ad75-0918041740fe" providerId="ADAL" clId="{1E37DBC6-34A7-4D8E-B235-13DE4D4B4098}" dt="2020-07-11T04:32:50.617" v="219" actId="164"/>
          <ac:spMkLst>
            <pc:docMk/>
            <pc:sldMk cId="316322398" sldId="1870"/>
            <ac:spMk id="24" creationId="{CEBF1C79-FDD9-4AE3-8BB8-F8643965CB1F}"/>
          </ac:spMkLst>
        </pc:spChg>
        <pc:spChg chg="add mod">
          <ac:chgData name="Vincent Kharsyad [Chillibreeze]" userId="7b5f9e7a-8cb6-4e11-ad75-0918041740fe" providerId="ADAL" clId="{1E37DBC6-34A7-4D8E-B235-13DE4D4B4098}" dt="2020-07-11T04:32:57.643" v="222" actId="164"/>
          <ac:spMkLst>
            <pc:docMk/>
            <pc:sldMk cId="316322398" sldId="1870"/>
            <ac:spMk id="25" creationId="{D0410BEC-672F-43A6-B703-29951F679F6A}"/>
          </ac:spMkLst>
        </pc:spChg>
        <pc:spChg chg="mod">
          <ac:chgData name="Vincent Kharsyad [Chillibreeze]" userId="7b5f9e7a-8cb6-4e11-ad75-0918041740fe" providerId="ADAL" clId="{1E37DBC6-34A7-4D8E-B235-13DE4D4B4098}" dt="2020-07-11T04:32:02.070" v="199" actId="164"/>
          <ac:spMkLst>
            <pc:docMk/>
            <pc:sldMk cId="316322398" sldId="1870"/>
            <ac:spMk id="26" creationId="{423C33BE-9D6A-4AE9-BAFD-7E4CED6842EB}"/>
          </ac:spMkLst>
        </pc:spChg>
        <pc:spChg chg="mod">
          <ac:chgData name="Vincent Kharsyad [Chillibreeze]" userId="7b5f9e7a-8cb6-4e11-ad75-0918041740fe" providerId="ADAL" clId="{1E37DBC6-34A7-4D8E-B235-13DE4D4B4098}" dt="2020-07-11T04:32:02.070" v="199" actId="164"/>
          <ac:spMkLst>
            <pc:docMk/>
            <pc:sldMk cId="316322398" sldId="1870"/>
            <ac:spMk id="27" creationId="{91028A9E-5608-4B8B-A4D8-702F002D710E}"/>
          </ac:spMkLst>
        </pc:spChg>
        <pc:spChg chg="add mod">
          <ac:chgData name="Vincent Kharsyad [Chillibreeze]" userId="7b5f9e7a-8cb6-4e11-ad75-0918041740fe" providerId="ADAL" clId="{1E37DBC6-34A7-4D8E-B235-13DE4D4B4098}" dt="2020-07-11T04:32:55.594" v="221" actId="164"/>
          <ac:spMkLst>
            <pc:docMk/>
            <pc:sldMk cId="316322398" sldId="1870"/>
            <ac:spMk id="28" creationId="{2B3AE821-C386-4321-A328-86B1E015BD3F}"/>
          </ac:spMkLst>
        </pc:spChg>
        <pc:spChg chg="mod">
          <ac:chgData name="Vincent Kharsyad [Chillibreeze]" userId="7b5f9e7a-8cb6-4e11-ad75-0918041740fe" providerId="ADAL" clId="{1E37DBC6-34A7-4D8E-B235-13DE4D4B4098}" dt="2020-07-11T04:32:04.520" v="200" actId="164"/>
          <ac:spMkLst>
            <pc:docMk/>
            <pc:sldMk cId="316322398" sldId="1870"/>
            <ac:spMk id="29" creationId="{44E1FE4F-44A2-4427-8FF0-3DE8CEBF09EF}"/>
          </ac:spMkLst>
        </pc:spChg>
        <pc:spChg chg="mod">
          <ac:chgData name="Vincent Kharsyad [Chillibreeze]" userId="7b5f9e7a-8cb6-4e11-ad75-0918041740fe" providerId="ADAL" clId="{1E37DBC6-34A7-4D8E-B235-13DE4D4B4098}" dt="2020-07-11T04:32:04.520" v="200" actId="164"/>
          <ac:spMkLst>
            <pc:docMk/>
            <pc:sldMk cId="316322398" sldId="1870"/>
            <ac:spMk id="30" creationId="{D5ADAAFA-F982-467E-8ADF-FBA5F17A153A}"/>
          </ac:spMkLst>
        </pc:spChg>
        <pc:spChg chg="add mod">
          <ac:chgData name="Vincent Kharsyad [Chillibreeze]" userId="7b5f9e7a-8cb6-4e11-ad75-0918041740fe" providerId="ADAL" clId="{1E37DBC6-34A7-4D8E-B235-13DE4D4B4098}" dt="2020-07-11T04:32:52.870" v="220" actId="164"/>
          <ac:spMkLst>
            <pc:docMk/>
            <pc:sldMk cId="316322398" sldId="1870"/>
            <ac:spMk id="31" creationId="{F3CF75B6-4236-485C-83EE-FA248FE1A2B4}"/>
          </ac:spMkLst>
        </pc:spChg>
        <pc:spChg chg="mod">
          <ac:chgData name="Vincent Kharsyad [Chillibreeze]" userId="7b5f9e7a-8cb6-4e11-ad75-0918041740fe" providerId="ADAL" clId="{1E37DBC6-34A7-4D8E-B235-13DE4D4B4098}" dt="2020-07-11T04:32:06.992" v="201" actId="164"/>
          <ac:spMkLst>
            <pc:docMk/>
            <pc:sldMk cId="316322398" sldId="1870"/>
            <ac:spMk id="32" creationId="{52C9C4CE-73B1-4B8E-9700-4D21C9E221DF}"/>
          </ac:spMkLst>
        </pc:spChg>
        <pc:spChg chg="mod">
          <ac:chgData name="Vincent Kharsyad [Chillibreeze]" userId="7b5f9e7a-8cb6-4e11-ad75-0918041740fe" providerId="ADAL" clId="{1E37DBC6-34A7-4D8E-B235-13DE4D4B4098}" dt="2020-07-11T04:32:06.992" v="201" actId="164"/>
          <ac:spMkLst>
            <pc:docMk/>
            <pc:sldMk cId="316322398" sldId="1870"/>
            <ac:spMk id="33" creationId="{60723F4D-8D68-4062-9DE7-1A08CF4E178F}"/>
          </ac:spMkLst>
        </pc:spChg>
        <pc:grpChg chg="add mod">
          <ac:chgData name="Vincent Kharsyad [Chillibreeze]" userId="7b5f9e7a-8cb6-4e11-ad75-0918041740fe" providerId="ADAL" clId="{1E37DBC6-34A7-4D8E-B235-13DE4D4B4098}" dt="2020-07-11T04:32:59.915" v="223" actId="164"/>
          <ac:grpSpMkLst>
            <pc:docMk/>
            <pc:sldMk cId="316322398" sldId="1870"/>
            <ac:grpSpMk id="3" creationId="{15167BAF-F5B3-4916-9CA4-0C636BD9AE61}"/>
          </ac:grpSpMkLst>
        </pc:grpChg>
        <pc:grpChg chg="add mod">
          <ac:chgData name="Vincent Kharsyad [Chillibreeze]" userId="7b5f9e7a-8cb6-4e11-ad75-0918041740fe" providerId="ADAL" clId="{1E37DBC6-34A7-4D8E-B235-13DE4D4B4098}" dt="2020-07-11T04:32:57.643" v="222" actId="164"/>
          <ac:grpSpMkLst>
            <pc:docMk/>
            <pc:sldMk cId="316322398" sldId="1870"/>
            <ac:grpSpMk id="11" creationId="{3409145F-D102-46C3-96B4-F2B4DFA27825}"/>
          </ac:grpSpMkLst>
        </pc:grpChg>
        <pc:grpChg chg="add mod">
          <ac:chgData name="Vincent Kharsyad [Chillibreeze]" userId="7b5f9e7a-8cb6-4e11-ad75-0918041740fe" providerId="ADAL" clId="{1E37DBC6-34A7-4D8E-B235-13DE4D4B4098}" dt="2020-07-11T04:32:55.594" v="221" actId="164"/>
          <ac:grpSpMkLst>
            <pc:docMk/>
            <pc:sldMk cId="316322398" sldId="1870"/>
            <ac:grpSpMk id="13" creationId="{FFD10864-2816-4111-8217-EAC7538296B1}"/>
          </ac:grpSpMkLst>
        </pc:grpChg>
        <pc:grpChg chg="add mod">
          <ac:chgData name="Vincent Kharsyad [Chillibreeze]" userId="7b5f9e7a-8cb6-4e11-ad75-0918041740fe" providerId="ADAL" clId="{1E37DBC6-34A7-4D8E-B235-13DE4D4B4098}" dt="2020-07-11T04:32:52.870" v="220" actId="164"/>
          <ac:grpSpMkLst>
            <pc:docMk/>
            <pc:sldMk cId="316322398" sldId="1870"/>
            <ac:grpSpMk id="17" creationId="{FCD9D178-B709-4304-8757-516935F2A898}"/>
          </ac:grpSpMkLst>
        </pc:grpChg>
        <pc:grpChg chg="add mod">
          <ac:chgData name="Vincent Kharsyad [Chillibreeze]" userId="7b5f9e7a-8cb6-4e11-ad75-0918041740fe" providerId="ADAL" clId="{1E37DBC6-34A7-4D8E-B235-13DE4D4B4098}" dt="2020-07-11T04:32:50.617" v="219" actId="164"/>
          <ac:grpSpMkLst>
            <pc:docMk/>
            <pc:sldMk cId="316322398" sldId="1870"/>
            <ac:grpSpMk id="21" creationId="{63A1B2B1-D8BC-43E9-9844-BA37E18474C9}"/>
          </ac:grpSpMkLst>
        </pc:grpChg>
        <pc:grpChg chg="add mod">
          <ac:chgData name="Vincent Kharsyad [Chillibreeze]" userId="7b5f9e7a-8cb6-4e11-ad75-0918041740fe" providerId="ADAL" clId="{1E37DBC6-34A7-4D8E-B235-13DE4D4B4098}" dt="2020-07-11T04:32:52.870" v="220" actId="164"/>
          <ac:grpSpMkLst>
            <pc:docMk/>
            <pc:sldMk cId="316322398" sldId="1870"/>
            <ac:grpSpMk id="22" creationId="{6A67E161-FC00-4EA6-B421-B365273D9925}"/>
          </ac:grpSpMkLst>
        </pc:grpChg>
        <pc:grpChg chg="add mod">
          <ac:chgData name="Vincent Kharsyad [Chillibreeze]" userId="7b5f9e7a-8cb6-4e11-ad75-0918041740fe" providerId="ADAL" clId="{1E37DBC6-34A7-4D8E-B235-13DE4D4B4098}" dt="2020-07-11T04:32:55.594" v="221" actId="164"/>
          <ac:grpSpMkLst>
            <pc:docMk/>
            <pc:sldMk cId="316322398" sldId="1870"/>
            <ac:grpSpMk id="23" creationId="{3D9058B6-548B-4746-95FF-6D1139156FFA}"/>
          </ac:grpSpMkLst>
        </pc:grpChg>
        <pc:grpChg chg="add mod">
          <ac:chgData name="Vincent Kharsyad [Chillibreeze]" userId="7b5f9e7a-8cb6-4e11-ad75-0918041740fe" providerId="ADAL" clId="{1E37DBC6-34A7-4D8E-B235-13DE4D4B4098}" dt="2020-07-11T04:32:50.617" v="219" actId="164"/>
          <ac:grpSpMkLst>
            <pc:docMk/>
            <pc:sldMk cId="316322398" sldId="1870"/>
            <ac:grpSpMk id="23" creationId="{646710C9-0E0B-4806-B494-78B1A60C323E}"/>
          </ac:grpSpMkLst>
        </pc:grpChg>
        <pc:grpChg chg="add mod">
          <ac:chgData name="Vincent Kharsyad [Chillibreeze]" userId="7b5f9e7a-8cb6-4e11-ad75-0918041740fe" providerId="ADAL" clId="{1E37DBC6-34A7-4D8E-B235-13DE4D4B4098}" dt="2020-07-11T04:32:57.643" v="222" actId="164"/>
          <ac:grpSpMkLst>
            <pc:docMk/>
            <pc:sldMk cId="316322398" sldId="1870"/>
            <ac:grpSpMk id="24" creationId="{25491E4A-E6AC-451C-864A-E82F9226D8CC}"/>
          </ac:grpSpMkLst>
        </pc:grpChg>
        <pc:grpChg chg="add mod">
          <ac:chgData name="Vincent Kharsyad [Chillibreeze]" userId="7b5f9e7a-8cb6-4e11-ad75-0918041740fe" providerId="ADAL" clId="{1E37DBC6-34A7-4D8E-B235-13DE4D4B4098}" dt="2020-07-11T04:32:59.915" v="223" actId="164"/>
          <ac:grpSpMkLst>
            <pc:docMk/>
            <pc:sldMk cId="316322398" sldId="1870"/>
            <ac:grpSpMk id="37" creationId="{A405C499-62A9-421C-BF36-AE140C715C31}"/>
          </ac:grpSpMkLst>
        </pc:grpChg>
      </pc:sldChg>
      <pc:sldChg chg="modSp mod">
        <pc:chgData name="Vincent Kharsyad [Chillibreeze]" userId="7b5f9e7a-8cb6-4e11-ad75-0918041740fe" providerId="ADAL" clId="{1E37DBC6-34A7-4D8E-B235-13DE4D4B4098}" dt="2020-07-10T18:46:16.404" v="157" actId="14100"/>
        <pc:sldMkLst>
          <pc:docMk/>
          <pc:sldMk cId="2122675882" sldId="1915"/>
        </pc:sldMkLst>
        <pc:spChg chg="mod">
          <ac:chgData name="Vincent Kharsyad [Chillibreeze]" userId="7b5f9e7a-8cb6-4e11-ad75-0918041740fe" providerId="ADAL" clId="{1E37DBC6-34A7-4D8E-B235-13DE4D4B4098}" dt="2020-07-10T18:46:16.404" v="157" actId="14100"/>
          <ac:spMkLst>
            <pc:docMk/>
            <pc:sldMk cId="2122675882" sldId="1915"/>
            <ac:spMk id="10" creationId="{3C7DD12B-9E6E-4004-8BFF-9FD28375435C}"/>
          </ac:spMkLst>
        </pc:spChg>
      </pc:sldChg>
      <pc:sldChg chg="addSp modSp mod">
        <pc:chgData name="Vincent Kharsyad [Chillibreeze]" userId="7b5f9e7a-8cb6-4e11-ad75-0918041740fe" providerId="ADAL" clId="{1E37DBC6-34A7-4D8E-B235-13DE4D4B4098}" dt="2020-07-10T18:46:11.955" v="156" actId="14100"/>
        <pc:sldMkLst>
          <pc:docMk/>
          <pc:sldMk cId="1383309642" sldId="1916"/>
        </pc:sldMkLst>
        <pc:spChg chg="mod">
          <ac:chgData name="Vincent Kharsyad [Chillibreeze]" userId="7b5f9e7a-8cb6-4e11-ad75-0918041740fe" providerId="ADAL" clId="{1E37DBC6-34A7-4D8E-B235-13DE4D4B4098}" dt="2020-07-10T18:46:11.955" v="156" actId="14100"/>
          <ac:spMkLst>
            <pc:docMk/>
            <pc:sldMk cId="1383309642" sldId="1916"/>
            <ac:spMk id="11" creationId="{0E3D0088-708F-46C2-948E-DD4297652DE9}"/>
          </ac:spMkLst>
        </pc:spChg>
        <pc:grpChg chg="add mod">
          <ac:chgData name="Vincent Kharsyad [Chillibreeze]" userId="7b5f9e7a-8cb6-4e11-ad75-0918041740fe" providerId="ADAL" clId="{1E37DBC6-34A7-4D8E-B235-13DE4D4B4098}" dt="2020-07-10T18:46:04.957" v="155" actId="164"/>
          <ac:grpSpMkLst>
            <pc:docMk/>
            <pc:sldMk cId="1383309642" sldId="1916"/>
            <ac:grpSpMk id="3" creationId="{F50FFE2A-31F3-433C-A75B-8478C96FF4B3}"/>
          </ac:grpSpMkLst>
        </pc:grpChg>
        <pc:picChg chg="mod">
          <ac:chgData name="Vincent Kharsyad [Chillibreeze]" userId="7b5f9e7a-8cb6-4e11-ad75-0918041740fe" providerId="ADAL" clId="{1E37DBC6-34A7-4D8E-B235-13DE4D4B4098}" dt="2020-07-10T18:46:04.957" v="155" actId="164"/>
          <ac:picMkLst>
            <pc:docMk/>
            <pc:sldMk cId="1383309642" sldId="1916"/>
            <ac:picMk id="10" creationId="{F5D41DB3-463D-4139-8959-B7985103D32E}"/>
          </ac:picMkLst>
        </pc:picChg>
        <pc:picChg chg="mod">
          <ac:chgData name="Vincent Kharsyad [Chillibreeze]" userId="7b5f9e7a-8cb6-4e11-ad75-0918041740fe" providerId="ADAL" clId="{1E37DBC6-34A7-4D8E-B235-13DE4D4B4098}" dt="2020-07-10T18:46:04.957" v="155" actId="164"/>
          <ac:picMkLst>
            <pc:docMk/>
            <pc:sldMk cId="1383309642" sldId="1916"/>
            <ac:picMk id="12" creationId="{89AFBBBD-6935-42DB-AB46-CFCA5A402A5B}"/>
          </ac:picMkLst>
        </pc:picChg>
      </pc:sldChg>
      <pc:sldChg chg="addSp delSp modSp mod">
        <pc:chgData name="Vincent Kharsyad [Chillibreeze]" userId="7b5f9e7a-8cb6-4e11-ad75-0918041740fe" providerId="ADAL" clId="{1E37DBC6-34A7-4D8E-B235-13DE4D4B4098}" dt="2020-07-10T18:44:21.312" v="153" actId="478"/>
        <pc:sldMkLst>
          <pc:docMk/>
          <pc:sldMk cId="397689141" sldId="1947"/>
        </pc:sldMkLst>
        <pc:spChg chg="add del mod">
          <ac:chgData name="Vincent Kharsyad [Chillibreeze]" userId="7b5f9e7a-8cb6-4e11-ad75-0918041740fe" providerId="ADAL" clId="{1E37DBC6-34A7-4D8E-B235-13DE4D4B4098}" dt="2020-07-10T18:44:21.312" v="153" actId="478"/>
          <ac:spMkLst>
            <pc:docMk/>
            <pc:sldMk cId="397689141" sldId="1947"/>
            <ac:spMk id="3" creationId="{C56BACB8-1770-4B3F-8862-4E09418A5FFD}"/>
          </ac:spMkLst>
        </pc:spChg>
        <pc:spChg chg="mod">
          <ac:chgData name="Vincent Kharsyad [Chillibreeze]" userId="7b5f9e7a-8cb6-4e11-ad75-0918041740fe" providerId="ADAL" clId="{1E37DBC6-34A7-4D8E-B235-13DE4D4B4098}" dt="2020-07-10T18:22:56.188" v="12" actId="554"/>
          <ac:spMkLst>
            <pc:docMk/>
            <pc:sldMk cId="397689141" sldId="1947"/>
            <ac:spMk id="4" creationId="{FD483274-C30B-45CD-B638-369AC843DEF0}"/>
          </ac:spMkLst>
        </pc:spChg>
      </pc:sldChg>
      <pc:sldChg chg="modSp mod">
        <pc:chgData name="Vincent Kharsyad [Chillibreeze]" userId="7b5f9e7a-8cb6-4e11-ad75-0918041740fe" providerId="ADAL" clId="{1E37DBC6-34A7-4D8E-B235-13DE4D4B4098}" dt="2020-07-10T18:45:33.060" v="154" actId="554"/>
        <pc:sldMkLst>
          <pc:docMk/>
          <pc:sldMk cId="2334485022" sldId="1950"/>
        </pc:sldMkLst>
        <pc:spChg chg="mod">
          <ac:chgData name="Vincent Kharsyad [Chillibreeze]" userId="7b5f9e7a-8cb6-4e11-ad75-0918041740fe" providerId="ADAL" clId="{1E37DBC6-34A7-4D8E-B235-13DE4D4B4098}" dt="2020-07-10T18:45:33.060" v="154" actId="554"/>
          <ac:spMkLst>
            <pc:docMk/>
            <pc:sldMk cId="2334485022" sldId="1950"/>
            <ac:spMk id="44" creationId="{A6932B66-3911-43CD-BB70-13C6E830C9B9}"/>
          </ac:spMkLst>
        </pc:spChg>
        <pc:grpChg chg="mod">
          <ac:chgData name="Vincent Kharsyad [Chillibreeze]" userId="7b5f9e7a-8cb6-4e11-ad75-0918041740fe" providerId="ADAL" clId="{1E37DBC6-34A7-4D8E-B235-13DE4D4B4098}" dt="2020-07-10T18:45:33.060" v="154" actId="554"/>
          <ac:grpSpMkLst>
            <pc:docMk/>
            <pc:sldMk cId="2334485022" sldId="1950"/>
            <ac:grpSpMk id="50" creationId="{34BDD148-5E63-4962-9E09-457C7BAF9A26}"/>
          </ac:grpSpMkLst>
        </pc:grpChg>
      </pc:sldChg>
      <pc:sldChg chg="addSp delSp modSp mod">
        <pc:chgData name="Vincent Kharsyad [Chillibreeze]" userId="7b5f9e7a-8cb6-4e11-ad75-0918041740fe" providerId="ADAL" clId="{1E37DBC6-34A7-4D8E-B235-13DE4D4B4098}" dt="2020-07-10T18:38:54.149" v="129" actId="12788"/>
        <pc:sldMkLst>
          <pc:docMk/>
          <pc:sldMk cId="171335779" sldId="1953"/>
        </pc:sldMkLst>
        <pc:spChg chg="add mod">
          <ac:chgData name="Vincent Kharsyad [Chillibreeze]" userId="7b5f9e7a-8cb6-4e11-ad75-0918041740fe" providerId="ADAL" clId="{1E37DBC6-34A7-4D8E-B235-13DE4D4B4098}" dt="2020-07-10T18:23:22.860" v="16" actId="14100"/>
          <ac:spMkLst>
            <pc:docMk/>
            <pc:sldMk cId="171335779" sldId="1953"/>
            <ac:spMk id="3" creationId="{32ED5412-A196-4F91-BAF1-62726A9B073C}"/>
          </ac:spMkLst>
        </pc:spChg>
        <pc:spChg chg="del mod">
          <ac:chgData name="Vincent Kharsyad [Chillibreeze]" userId="7b5f9e7a-8cb6-4e11-ad75-0918041740fe" providerId="ADAL" clId="{1E37DBC6-34A7-4D8E-B235-13DE4D4B4098}" dt="2020-07-10T18:26:15.202" v="23" actId="478"/>
          <ac:spMkLst>
            <pc:docMk/>
            <pc:sldMk cId="171335779" sldId="1953"/>
            <ac:spMk id="8" creationId="{5EBE7A76-4EE4-4F0C-A143-846C7B750875}"/>
          </ac:spMkLst>
        </pc:spChg>
        <pc:spChg chg="add del mod">
          <ac:chgData name="Vincent Kharsyad [Chillibreeze]" userId="7b5f9e7a-8cb6-4e11-ad75-0918041740fe" providerId="ADAL" clId="{1E37DBC6-34A7-4D8E-B235-13DE4D4B4098}" dt="2020-07-10T18:23:27.891" v="17" actId="478"/>
          <ac:spMkLst>
            <pc:docMk/>
            <pc:sldMk cId="171335779" sldId="1953"/>
            <ac:spMk id="10" creationId="{494B3BD7-F1A2-4028-B818-579EADCD97BF}"/>
          </ac:spMkLst>
        </pc:spChg>
        <pc:spChg chg="add del mod">
          <ac:chgData name="Vincent Kharsyad [Chillibreeze]" userId="7b5f9e7a-8cb6-4e11-ad75-0918041740fe" providerId="ADAL" clId="{1E37DBC6-34A7-4D8E-B235-13DE4D4B4098}" dt="2020-07-10T18:26:26.843" v="25" actId="478"/>
          <ac:spMkLst>
            <pc:docMk/>
            <pc:sldMk cId="171335779" sldId="1953"/>
            <ac:spMk id="12" creationId="{6E42B468-B88C-40C7-B6CD-AB799CB22BD4}"/>
          </ac:spMkLst>
        </pc:spChg>
        <pc:spChg chg="mod">
          <ac:chgData name="Vincent Kharsyad [Chillibreeze]" userId="7b5f9e7a-8cb6-4e11-ad75-0918041740fe" providerId="ADAL" clId="{1E37DBC6-34A7-4D8E-B235-13DE4D4B4098}" dt="2020-07-10T18:26:10.971" v="21"/>
          <ac:spMkLst>
            <pc:docMk/>
            <pc:sldMk cId="171335779" sldId="1953"/>
            <ac:spMk id="16" creationId="{02A3784D-E9B8-4FD7-91BD-6040E2018596}"/>
          </ac:spMkLst>
        </pc:spChg>
        <pc:spChg chg="mod">
          <ac:chgData name="Vincent Kharsyad [Chillibreeze]" userId="7b5f9e7a-8cb6-4e11-ad75-0918041740fe" providerId="ADAL" clId="{1E37DBC6-34A7-4D8E-B235-13DE4D4B4098}" dt="2020-07-10T18:26:10.971" v="21"/>
          <ac:spMkLst>
            <pc:docMk/>
            <pc:sldMk cId="171335779" sldId="1953"/>
            <ac:spMk id="17" creationId="{CC32D39C-143F-41C5-AAE0-7E2ACDE88725}"/>
          </ac:spMkLst>
        </pc:spChg>
        <pc:spChg chg="add del mod">
          <ac:chgData name="Vincent Kharsyad [Chillibreeze]" userId="7b5f9e7a-8cb6-4e11-ad75-0918041740fe" providerId="ADAL" clId="{1E37DBC6-34A7-4D8E-B235-13DE4D4B4098}" dt="2020-07-10T18:27:44.619" v="33" actId="478"/>
          <ac:spMkLst>
            <pc:docMk/>
            <pc:sldMk cId="171335779" sldId="1953"/>
            <ac:spMk id="18" creationId="{C71EC447-04A6-444E-8F41-CEF29A2007AC}"/>
          </ac:spMkLst>
        </pc:spChg>
        <pc:spChg chg="add del mod">
          <ac:chgData name="Vincent Kharsyad [Chillibreeze]" userId="7b5f9e7a-8cb6-4e11-ad75-0918041740fe" providerId="ADAL" clId="{1E37DBC6-34A7-4D8E-B235-13DE4D4B4098}" dt="2020-07-10T18:27:44.619" v="33" actId="478"/>
          <ac:spMkLst>
            <pc:docMk/>
            <pc:sldMk cId="171335779" sldId="1953"/>
            <ac:spMk id="19" creationId="{82202DDD-950A-4C1F-850C-FFCCCF580F13}"/>
          </ac:spMkLst>
        </pc:spChg>
        <pc:spChg chg="add del mod">
          <ac:chgData name="Vincent Kharsyad [Chillibreeze]" userId="7b5f9e7a-8cb6-4e11-ad75-0918041740fe" providerId="ADAL" clId="{1E37DBC6-34A7-4D8E-B235-13DE4D4B4098}" dt="2020-07-10T18:27:44.619" v="33" actId="478"/>
          <ac:spMkLst>
            <pc:docMk/>
            <pc:sldMk cId="171335779" sldId="1953"/>
            <ac:spMk id="20" creationId="{6AECD63F-EC6C-4FD2-819A-9A91C1004AB2}"/>
          </ac:spMkLst>
        </pc:spChg>
        <pc:spChg chg="add del mod">
          <ac:chgData name="Vincent Kharsyad [Chillibreeze]" userId="7b5f9e7a-8cb6-4e11-ad75-0918041740fe" providerId="ADAL" clId="{1E37DBC6-34A7-4D8E-B235-13DE4D4B4098}" dt="2020-07-10T18:27:44.619" v="33" actId="478"/>
          <ac:spMkLst>
            <pc:docMk/>
            <pc:sldMk cId="171335779" sldId="1953"/>
            <ac:spMk id="21" creationId="{FCAD9BCD-C2FE-4602-9871-63124E05A434}"/>
          </ac:spMkLst>
        </pc:spChg>
        <pc:spChg chg="del mod">
          <ac:chgData name="Vincent Kharsyad [Chillibreeze]" userId="7b5f9e7a-8cb6-4e11-ad75-0918041740fe" providerId="ADAL" clId="{1E37DBC6-34A7-4D8E-B235-13DE4D4B4098}" dt="2020-07-10T18:32:30.770" v="102" actId="478"/>
          <ac:spMkLst>
            <pc:docMk/>
            <pc:sldMk cId="171335779" sldId="1953"/>
            <ac:spMk id="31" creationId="{CA570385-CC8F-4203-B88F-0F2E02415176}"/>
          </ac:spMkLst>
        </pc:spChg>
        <pc:spChg chg="add del mod">
          <ac:chgData name="Vincent Kharsyad [Chillibreeze]" userId="7b5f9e7a-8cb6-4e11-ad75-0918041740fe" providerId="ADAL" clId="{1E37DBC6-34A7-4D8E-B235-13DE4D4B4098}" dt="2020-07-10T18:31:29.116" v="79" actId="478"/>
          <ac:spMkLst>
            <pc:docMk/>
            <pc:sldMk cId="171335779" sldId="1953"/>
            <ac:spMk id="39" creationId="{70288CED-CE77-4F7B-AD7F-865931CB05D2}"/>
          </ac:spMkLst>
        </pc:spChg>
        <pc:spChg chg="add del mod">
          <ac:chgData name="Vincent Kharsyad [Chillibreeze]" userId="7b5f9e7a-8cb6-4e11-ad75-0918041740fe" providerId="ADAL" clId="{1E37DBC6-34A7-4D8E-B235-13DE4D4B4098}" dt="2020-07-10T18:31:29.116" v="79" actId="478"/>
          <ac:spMkLst>
            <pc:docMk/>
            <pc:sldMk cId="171335779" sldId="1953"/>
            <ac:spMk id="40" creationId="{F5BD69AA-30A5-43EC-A0F8-8F178122E120}"/>
          </ac:spMkLst>
        </pc:spChg>
        <pc:spChg chg="add del mod">
          <ac:chgData name="Vincent Kharsyad [Chillibreeze]" userId="7b5f9e7a-8cb6-4e11-ad75-0918041740fe" providerId="ADAL" clId="{1E37DBC6-34A7-4D8E-B235-13DE4D4B4098}" dt="2020-07-10T18:31:29.116" v="79" actId="478"/>
          <ac:spMkLst>
            <pc:docMk/>
            <pc:sldMk cId="171335779" sldId="1953"/>
            <ac:spMk id="41" creationId="{8205CE8F-5F0C-4126-818A-FF3EF6090A97}"/>
          </ac:spMkLst>
        </pc:spChg>
        <pc:spChg chg="add del mod">
          <ac:chgData name="Vincent Kharsyad [Chillibreeze]" userId="7b5f9e7a-8cb6-4e11-ad75-0918041740fe" providerId="ADAL" clId="{1E37DBC6-34A7-4D8E-B235-13DE4D4B4098}" dt="2020-07-10T18:31:29.116" v="79" actId="478"/>
          <ac:spMkLst>
            <pc:docMk/>
            <pc:sldMk cId="171335779" sldId="1953"/>
            <ac:spMk id="42" creationId="{59D08683-1A4E-4D75-9CDC-4914B23C3CC2}"/>
          </ac:spMkLst>
        </pc:spChg>
        <pc:spChg chg="add mod">
          <ac:chgData name="Vincent Kharsyad [Chillibreeze]" userId="7b5f9e7a-8cb6-4e11-ad75-0918041740fe" providerId="ADAL" clId="{1E37DBC6-34A7-4D8E-B235-13DE4D4B4098}" dt="2020-07-10T18:32:45.724" v="103" actId="1076"/>
          <ac:spMkLst>
            <pc:docMk/>
            <pc:sldMk cId="171335779" sldId="1953"/>
            <ac:spMk id="58" creationId="{178D6D2F-4F6F-477F-AD34-EF08B47BBA11}"/>
          </ac:spMkLst>
        </pc:spChg>
        <pc:spChg chg="add mod">
          <ac:chgData name="Vincent Kharsyad [Chillibreeze]" userId="7b5f9e7a-8cb6-4e11-ad75-0918041740fe" providerId="ADAL" clId="{1E37DBC6-34A7-4D8E-B235-13DE4D4B4098}" dt="2020-07-10T18:33:49.597" v="108" actId="12789"/>
          <ac:spMkLst>
            <pc:docMk/>
            <pc:sldMk cId="171335779" sldId="1953"/>
            <ac:spMk id="59" creationId="{08FAD90B-19D5-4558-BCC5-B2DE7E689EE1}"/>
          </ac:spMkLst>
        </pc:spChg>
        <pc:spChg chg="add mod">
          <ac:chgData name="Vincent Kharsyad [Chillibreeze]" userId="7b5f9e7a-8cb6-4e11-ad75-0918041740fe" providerId="ADAL" clId="{1E37DBC6-34A7-4D8E-B235-13DE4D4B4098}" dt="2020-07-10T18:33:59.628" v="109" actId="12789"/>
          <ac:spMkLst>
            <pc:docMk/>
            <pc:sldMk cId="171335779" sldId="1953"/>
            <ac:spMk id="60" creationId="{AFA1C8CC-C223-45E8-ACB3-065A50855BAB}"/>
          </ac:spMkLst>
        </pc:spChg>
        <pc:spChg chg="add mod">
          <ac:chgData name="Vincent Kharsyad [Chillibreeze]" userId="7b5f9e7a-8cb6-4e11-ad75-0918041740fe" providerId="ADAL" clId="{1E37DBC6-34A7-4D8E-B235-13DE4D4B4098}" dt="2020-07-10T18:34:06.693" v="110" actId="12789"/>
          <ac:spMkLst>
            <pc:docMk/>
            <pc:sldMk cId="171335779" sldId="1953"/>
            <ac:spMk id="61" creationId="{BEE48B26-944E-4BB7-A9EA-F5BEA6C54CFA}"/>
          </ac:spMkLst>
        </pc:spChg>
        <pc:grpChg chg="add del mod">
          <ac:chgData name="Vincent Kharsyad [Chillibreeze]" userId="7b5f9e7a-8cb6-4e11-ad75-0918041740fe" providerId="ADAL" clId="{1E37DBC6-34A7-4D8E-B235-13DE4D4B4098}" dt="2020-07-10T18:27:44.619" v="33" actId="478"/>
          <ac:grpSpMkLst>
            <pc:docMk/>
            <pc:sldMk cId="171335779" sldId="1953"/>
            <ac:grpSpMk id="4" creationId="{406B93DB-AE28-4289-85F1-3A9F304E66B0}"/>
          </ac:grpSpMkLst>
        </pc:grpChg>
        <pc:grpChg chg="mod">
          <ac:chgData name="Vincent Kharsyad [Chillibreeze]" userId="7b5f9e7a-8cb6-4e11-ad75-0918041740fe" providerId="ADAL" clId="{1E37DBC6-34A7-4D8E-B235-13DE4D4B4098}" dt="2020-07-10T18:23:36.781" v="18" actId="164"/>
          <ac:grpSpMkLst>
            <pc:docMk/>
            <pc:sldMk cId="171335779" sldId="1953"/>
            <ac:grpSpMk id="5" creationId="{69FF46A5-ECD2-459C-9C2A-DD65D257F07C}"/>
          </ac:grpSpMkLst>
        </pc:grpChg>
        <pc:grpChg chg="add del mod">
          <ac:chgData name="Vincent Kharsyad [Chillibreeze]" userId="7b5f9e7a-8cb6-4e11-ad75-0918041740fe" providerId="ADAL" clId="{1E37DBC6-34A7-4D8E-B235-13DE4D4B4098}" dt="2020-07-10T18:26:25.354" v="24" actId="478"/>
          <ac:grpSpMkLst>
            <pc:docMk/>
            <pc:sldMk cId="171335779" sldId="1953"/>
            <ac:grpSpMk id="13" creationId="{39482F98-8F83-445E-8B50-3C5A149EBA4E}"/>
          </ac:grpSpMkLst>
        </pc:grpChg>
        <pc:grpChg chg="mod">
          <ac:chgData name="Vincent Kharsyad [Chillibreeze]" userId="7b5f9e7a-8cb6-4e11-ad75-0918041740fe" providerId="ADAL" clId="{1E37DBC6-34A7-4D8E-B235-13DE4D4B4098}" dt="2020-07-10T18:26:10.971" v="21"/>
          <ac:grpSpMkLst>
            <pc:docMk/>
            <pc:sldMk cId="171335779" sldId="1953"/>
            <ac:grpSpMk id="14" creationId="{F5FFC82C-529B-49C2-883B-881AF49D77B1}"/>
          </ac:grpSpMkLst>
        </pc:grpChg>
        <pc:grpChg chg="add del mod">
          <ac:chgData name="Vincent Kharsyad [Chillibreeze]" userId="7b5f9e7a-8cb6-4e11-ad75-0918041740fe" providerId="ADAL" clId="{1E37DBC6-34A7-4D8E-B235-13DE4D4B4098}" dt="2020-07-10T18:27:44.619" v="33" actId="478"/>
          <ac:grpSpMkLst>
            <pc:docMk/>
            <pc:sldMk cId="171335779" sldId="1953"/>
            <ac:grpSpMk id="25" creationId="{E8DC0844-4005-4A11-9752-83C2BA3A73E6}"/>
          </ac:grpSpMkLst>
        </pc:grpChg>
        <pc:grpChg chg="add del mod">
          <ac:chgData name="Vincent Kharsyad [Chillibreeze]" userId="7b5f9e7a-8cb6-4e11-ad75-0918041740fe" providerId="ADAL" clId="{1E37DBC6-34A7-4D8E-B235-13DE4D4B4098}" dt="2020-07-10T18:27:44.619" v="33" actId="478"/>
          <ac:grpSpMkLst>
            <pc:docMk/>
            <pc:sldMk cId="171335779" sldId="1953"/>
            <ac:grpSpMk id="29" creationId="{569CC3A0-C003-4800-9F8E-7D046CE895DF}"/>
          </ac:grpSpMkLst>
        </pc:grpChg>
        <pc:grpChg chg="add del mod">
          <ac:chgData name="Vincent Kharsyad [Chillibreeze]" userId="7b5f9e7a-8cb6-4e11-ad75-0918041740fe" providerId="ADAL" clId="{1E37DBC6-34A7-4D8E-B235-13DE4D4B4098}" dt="2020-07-10T18:27:44.619" v="33" actId="478"/>
          <ac:grpSpMkLst>
            <pc:docMk/>
            <pc:sldMk cId="171335779" sldId="1953"/>
            <ac:grpSpMk id="33" creationId="{0754D085-2ED8-46B1-A7F9-0EF27967422D}"/>
          </ac:grpSpMkLst>
        </pc:grpChg>
        <pc:grpChg chg="add del mod">
          <ac:chgData name="Vincent Kharsyad [Chillibreeze]" userId="7b5f9e7a-8cb6-4e11-ad75-0918041740fe" providerId="ADAL" clId="{1E37DBC6-34A7-4D8E-B235-13DE4D4B4098}" dt="2020-07-10T18:27:44.619" v="33" actId="478"/>
          <ac:grpSpMkLst>
            <pc:docMk/>
            <pc:sldMk cId="171335779" sldId="1953"/>
            <ac:grpSpMk id="36" creationId="{269B5EF4-A093-415D-9A35-7D62010AA9C8}"/>
          </ac:grpSpMkLst>
        </pc:grpChg>
        <pc:grpChg chg="add del mod">
          <ac:chgData name="Vincent Kharsyad [Chillibreeze]" userId="7b5f9e7a-8cb6-4e11-ad75-0918041740fe" providerId="ADAL" clId="{1E37DBC6-34A7-4D8E-B235-13DE4D4B4098}" dt="2020-07-10T18:31:29.116" v="79" actId="478"/>
          <ac:grpSpMkLst>
            <pc:docMk/>
            <pc:sldMk cId="171335779" sldId="1953"/>
            <ac:grpSpMk id="46" creationId="{6597ABA5-2910-4BBE-B384-2CBE9F13BBD8}"/>
          </ac:grpSpMkLst>
        </pc:grpChg>
        <pc:grpChg chg="add del mod">
          <ac:chgData name="Vincent Kharsyad [Chillibreeze]" userId="7b5f9e7a-8cb6-4e11-ad75-0918041740fe" providerId="ADAL" clId="{1E37DBC6-34A7-4D8E-B235-13DE4D4B4098}" dt="2020-07-10T18:31:29.116" v="79" actId="478"/>
          <ac:grpSpMkLst>
            <pc:docMk/>
            <pc:sldMk cId="171335779" sldId="1953"/>
            <ac:grpSpMk id="49" creationId="{82275250-80F9-429B-87A8-D07C99B10532}"/>
          </ac:grpSpMkLst>
        </pc:grpChg>
        <pc:grpChg chg="add del mod">
          <ac:chgData name="Vincent Kharsyad [Chillibreeze]" userId="7b5f9e7a-8cb6-4e11-ad75-0918041740fe" providerId="ADAL" clId="{1E37DBC6-34A7-4D8E-B235-13DE4D4B4098}" dt="2020-07-10T18:31:29.116" v="79" actId="478"/>
          <ac:grpSpMkLst>
            <pc:docMk/>
            <pc:sldMk cId="171335779" sldId="1953"/>
            <ac:grpSpMk id="52" creationId="{A78F2604-D587-4970-A4F8-DA336D23FE87}"/>
          </ac:grpSpMkLst>
        </pc:grpChg>
        <pc:grpChg chg="add del mod">
          <ac:chgData name="Vincent Kharsyad [Chillibreeze]" userId="7b5f9e7a-8cb6-4e11-ad75-0918041740fe" providerId="ADAL" clId="{1E37DBC6-34A7-4D8E-B235-13DE4D4B4098}" dt="2020-07-10T18:31:29.116" v="79" actId="478"/>
          <ac:grpSpMkLst>
            <pc:docMk/>
            <pc:sldMk cId="171335779" sldId="1953"/>
            <ac:grpSpMk id="55" creationId="{F67EC9FF-D720-46AD-A81A-2D49C2447E33}"/>
          </ac:grpSpMkLst>
        </pc:grpChg>
        <pc:grpChg chg="add del mod">
          <ac:chgData name="Vincent Kharsyad [Chillibreeze]" userId="7b5f9e7a-8cb6-4e11-ad75-0918041740fe" providerId="ADAL" clId="{1E37DBC6-34A7-4D8E-B235-13DE4D4B4098}" dt="2020-07-10T18:34:31.075" v="111" actId="165"/>
          <ac:grpSpMkLst>
            <pc:docMk/>
            <pc:sldMk cId="171335779" sldId="1953"/>
            <ac:grpSpMk id="65" creationId="{36398C7A-3D81-457A-B37C-370586E8C81B}"/>
          </ac:grpSpMkLst>
        </pc:grpChg>
        <pc:grpChg chg="add del mod">
          <ac:chgData name="Vincent Kharsyad [Chillibreeze]" userId="7b5f9e7a-8cb6-4e11-ad75-0918041740fe" providerId="ADAL" clId="{1E37DBC6-34A7-4D8E-B235-13DE4D4B4098}" dt="2020-07-10T18:38:25.753" v="122" actId="165"/>
          <ac:grpSpMkLst>
            <pc:docMk/>
            <pc:sldMk cId="171335779" sldId="1953"/>
            <ac:grpSpMk id="68" creationId="{75B367C4-B991-4980-816A-CA8712B230C9}"/>
          </ac:grpSpMkLst>
        </pc:grpChg>
        <pc:grpChg chg="add mod">
          <ac:chgData name="Vincent Kharsyad [Chillibreeze]" userId="7b5f9e7a-8cb6-4e11-ad75-0918041740fe" providerId="ADAL" clId="{1E37DBC6-34A7-4D8E-B235-13DE4D4B4098}" dt="2020-07-10T18:34:06.693" v="110" actId="12789"/>
          <ac:grpSpMkLst>
            <pc:docMk/>
            <pc:sldMk cId="171335779" sldId="1953"/>
            <ac:grpSpMk id="71" creationId="{6832068B-BD6E-4BB5-9C46-F0E9D019C8A4}"/>
          </ac:grpSpMkLst>
        </pc:grpChg>
        <pc:grpChg chg="add mod">
          <ac:chgData name="Vincent Kharsyad [Chillibreeze]" userId="7b5f9e7a-8cb6-4e11-ad75-0918041740fe" providerId="ADAL" clId="{1E37DBC6-34A7-4D8E-B235-13DE4D4B4098}" dt="2020-07-10T18:33:59.628" v="109" actId="12789"/>
          <ac:grpSpMkLst>
            <pc:docMk/>
            <pc:sldMk cId="171335779" sldId="1953"/>
            <ac:grpSpMk id="74" creationId="{9F252ED1-E128-4A8F-8F84-9502F7FAAB08}"/>
          </ac:grpSpMkLst>
        </pc:grpChg>
        <pc:picChg chg="mod">
          <ac:chgData name="Vincent Kharsyad [Chillibreeze]" userId="7b5f9e7a-8cb6-4e11-ad75-0918041740fe" providerId="ADAL" clId="{1E37DBC6-34A7-4D8E-B235-13DE4D4B4098}" dt="2020-07-10T18:26:10.971" v="21"/>
          <ac:picMkLst>
            <pc:docMk/>
            <pc:sldMk cId="171335779" sldId="1953"/>
            <ac:picMk id="15" creationId="{04DC5B60-3F3F-4900-8C4C-D232538FF8ED}"/>
          </ac:picMkLst>
        </pc:picChg>
        <pc:picChg chg="mod">
          <ac:chgData name="Vincent Kharsyad [Chillibreeze]" userId="7b5f9e7a-8cb6-4e11-ad75-0918041740fe" providerId="ADAL" clId="{1E37DBC6-34A7-4D8E-B235-13DE4D4B4098}" dt="2020-07-10T18:27:09.782" v="26"/>
          <ac:picMkLst>
            <pc:docMk/>
            <pc:sldMk cId="171335779" sldId="1953"/>
            <ac:picMk id="26" creationId="{992294AB-7FA4-4F4C-BFF8-CECD855012FE}"/>
          </ac:picMkLst>
        </pc:picChg>
        <pc:picChg chg="mod">
          <ac:chgData name="Vincent Kharsyad [Chillibreeze]" userId="7b5f9e7a-8cb6-4e11-ad75-0918041740fe" providerId="ADAL" clId="{1E37DBC6-34A7-4D8E-B235-13DE4D4B4098}" dt="2020-07-10T18:27:09.782" v="26"/>
          <ac:picMkLst>
            <pc:docMk/>
            <pc:sldMk cId="171335779" sldId="1953"/>
            <ac:picMk id="27" creationId="{9D09C0C9-A4ED-47B4-B300-AC554E2ED217}"/>
          </ac:picMkLst>
        </pc:picChg>
        <pc:picChg chg="mod">
          <ac:chgData name="Vincent Kharsyad [Chillibreeze]" userId="7b5f9e7a-8cb6-4e11-ad75-0918041740fe" providerId="ADAL" clId="{1E37DBC6-34A7-4D8E-B235-13DE4D4B4098}" dt="2020-07-10T18:23:36.781" v="18" actId="164"/>
          <ac:picMkLst>
            <pc:docMk/>
            <pc:sldMk cId="171335779" sldId="1953"/>
            <ac:picMk id="28" creationId="{D675B7DB-A7B9-414D-9DD6-5471EEF274CF}"/>
          </ac:picMkLst>
        </pc:picChg>
        <pc:picChg chg="mod">
          <ac:chgData name="Vincent Kharsyad [Chillibreeze]" userId="7b5f9e7a-8cb6-4e11-ad75-0918041740fe" providerId="ADAL" clId="{1E37DBC6-34A7-4D8E-B235-13DE4D4B4098}" dt="2020-07-10T18:27:09.782" v="26"/>
          <ac:picMkLst>
            <pc:docMk/>
            <pc:sldMk cId="171335779" sldId="1953"/>
            <ac:picMk id="30" creationId="{A19719A5-FA53-4F78-990A-26C80F902607}"/>
          </ac:picMkLst>
        </pc:picChg>
        <pc:picChg chg="mod">
          <ac:chgData name="Vincent Kharsyad [Chillibreeze]" userId="7b5f9e7a-8cb6-4e11-ad75-0918041740fe" providerId="ADAL" clId="{1E37DBC6-34A7-4D8E-B235-13DE4D4B4098}" dt="2020-07-10T18:27:09.782" v="26"/>
          <ac:picMkLst>
            <pc:docMk/>
            <pc:sldMk cId="171335779" sldId="1953"/>
            <ac:picMk id="32" creationId="{58B24588-C8B0-4068-87EB-1B58ACD05700}"/>
          </ac:picMkLst>
        </pc:picChg>
        <pc:picChg chg="mod">
          <ac:chgData name="Vincent Kharsyad [Chillibreeze]" userId="7b5f9e7a-8cb6-4e11-ad75-0918041740fe" providerId="ADAL" clId="{1E37DBC6-34A7-4D8E-B235-13DE4D4B4098}" dt="2020-07-10T18:27:09.782" v="26"/>
          <ac:picMkLst>
            <pc:docMk/>
            <pc:sldMk cId="171335779" sldId="1953"/>
            <ac:picMk id="34" creationId="{E8DD5264-A0ED-4A38-AF16-3BB15BB76129}"/>
          </ac:picMkLst>
        </pc:picChg>
        <pc:picChg chg="mod">
          <ac:chgData name="Vincent Kharsyad [Chillibreeze]" userId="7b5f9e7a-8cb6-4e11-ad75-0918041740fe" providerId="ADAL" clId="{1E37DBC6-34A7-4D8E-B235-13DE4D4B4098}" dt="2020-07-10T18:27:09.782" v="26"/>
          <ac:picMkLst>
            <pc:docMk/>
            <pc:sldMk cId="171335779" sldId="1953"/>
            <ac:picMk id="35" creationId="{94D6D9AA-1D34-4964-BA40-938552145007}"/>
          </ac:picMkLst>
        </pc:picChg>
        <pc:picChg chg="mod">
          <ac:chgData name="Vincent Kharsyad [Chillibreeze]" userId="7b5f9e7a-8cb6-4e11-ad75-0918041740fe" providerId="ADAL" clId="{1E37DBC6-34A7-4D8E-B235-13DE4D4B4098}" dt="2020-07-10T18:27:09.782" v="26"/>
          <ac:picMkLst>
            <pc:docMk/>
            <pc:sldMk cId="171335779" sldId="1953"/>
            <ac:picMk id="37" creationId="{28DDF4B0-FF91-4BB9-A58C-4DEE045407F3}"/>
          </ac:picMkLst>
        </pc:picChg>
        <pc:picChg chg="mod">
          <ac:chgData name="Vincent Kharsyad [Chillibreeze]" userId="7b5f9e7a-8cb6-4e11-ad75-0918041740fe" providerId="ADAL" clId="{1E37DBC6-34A7-4D8E-B235-13DE4D4B4098}" dt="2020-07-10T18:27:09.782" v="26"/>
          <ac:picMkLst>
            <pc:docMk/>
            <pc:sldMk cId="171335779" sldId="1953"/>
            <ac:picMk id="38" creationId="{C597FAA4-F847-405C-9444-A884931838F7}"/>
          </ac:picMkLst>
        </pc:picChg>
        <pc:picChg chg="mod">
          <ac:chgData name="Vincent Kharsyad [Chillibreeze]" userId="7b5f9e7a-8cb6-4e11-ad75-0918041740fe" providerId="ADAL" clId="{1E37DBC6-34A7-4D8E-B235-13DE4D4B4098}" dt="2020-07-10T18:28:05.404" v="37"/>
          <ac:picMkLst>
            <pc:docMk/>
            <pc:sldMk cId="171335779" sldId="1953"/>
            <ac:picMk id="47" creationId="{9EA38D86-B668-4AC2-8B5C-70BB0BDCDDC6}"/>
          </ac:picMkLst>
        </pc:picChg>
        <pc:picChg chg="mod">
          <ac:chgData name="Vincent Kharsyad [Chillibreeze]" userId="7b5f9e7a-8cb6-4e11-ad75-0918041740fe" providerId="ADAL" clId="{1E37DBC6-34A7-4D8E-B235-13DE4D4B4098}" dt="2020-07-10T18:28:05.404" v="37"/>
          <ac:picMkLst>
            <pc:docMk/>
            <pc:sldMk cId="171335779" sldId="1953"/>
            <ac:picMk id="48" creationId="{4703D219-6F8C-4BC7-BED3-8F3FF1C664A2}"/>
          </ac:picMkLst>
        </pc:picChg>
        <pc:picChg chg="mod">
          <ac:chgData name="Vincent Kharsyad [Chillibreeze]" userId="7b5f9e7a-8cb6-4e11-ad75-0918041740fe" providerId="ADAL" clId="{1E37DBC6-34A7-4D8E-B235-13DE4D4B4098}" dt="2020-07-10T18:28:05.404" v="37"/>
          <ac:picMkLst>
            <pc:docMk/>
            <pc:sldMk cId="171335779" sldId="1953"/>
            <ac:picMk id="50" creationId="{C96BDB9B-3914-4C65-8329-6834275690AA}"/>
          </ac:picMkLst>
        </pc:picChg>
        <pc:picChg chg="mod">
          <ac:chgData name="Vincent Kharsyad [Chillibreeze]" userId="7b5f9e7a-8cb6-4e11-ad75-0918041740fe" providerId="ADAL" clId="{1E37DBC6-34A7-4D8E-B235-13DE4D4B4098}" dt="2020-07-10T18:28:05.404" v="37"/>
          <ac:picMkLst>
            <pc:docMk/>
            <pc:sldMk cId="171335779" sldId="1953"/>
            <ac:picMk id="51" creationId="{EDCC7DFB-A4C2-438A-91E0-C02DE3A60BDC}"/>
          </ac:picMkLst>
        </pc:picChg>
        <pc:picChg chg="mod">
          <ac:chgData name="Vincent Kharsyad [Chillibreeze]" userId="7b5f9e7a-8cb6-4e11-ad75-0918041740fe" providerId="ADAL" clId="{1E37DBC6-34A7-4D8E-B235-13DE4D4B4098}" dt="2020-07-10T18:28:05.404" v="37"/>
          <ac:picMkLst>
            <pc:docMk/>
            <pc:sldMk cId="171335779" sldId="1953"/>
            <ac:picMk id="53" creationId="{98B43FF5-3B26-41A5-9824-2AFA1A350585}"/>
          </ac:picMkLst>
        </pc:picChg>
        <pc:picChg chg="mod">
          <ac:chgData name="Vincent Kharsyad [Chillibreeze]" userId="7b5f9e7a-8cb6-4e11-ad75-0918041740fe" providerId="ADAL" clId="{1E37DBC6-34A7-4D8E-B235-13DE4D4B4098}" dt="2020-07-10T18:28:05.404" v="37"/>
          <ac:picMkLst>
            <pc:docMk/>
            <pc:sldMk cId="171335779" sldId="1953"/>
            <ac:picMk id="54" creationId="{CF1FC7EA-5E32-4B46-AFF1-54D8C3BC0DAB}"/>
          </ac:picMkLst>
        </pc:picChg>
        <pc:picChg chg="mod">
          <ac:chgData name="Vincent Kharsyad [Chillibreeze]" userId="7b5f9e7a-8cb6-4e11-ad75-0918041740fe" providerId="ADAL" clId="{1E37DBC6-34A7-4D8E-B235-13DE4D4B4098}" dt="2020-07-10T18:28:05.404" v="37"/>
          <ac:picMkLst>
            <pc:docMk/>
            <pc:sldMk cId="171335779" sldId="1953"/>
            <ac:picMk id="56" creationId="{5564976F-1804-4A60-BBCD-73CB21BCDABF}"/>
          </ac:picMkLst>
        </pc:picChg>
        <pc:picChg chg="mod">
          <ac:chgData name="Vincent Kharsyad [Chillibreeze]" userId="7b5f9e7a-8cb6-4e11-ad75-0918041740fe" providerId="ADAL" clId="{1E37DBC6-34A7-4D8E-B235-13DE4D4B4098}" dt="2020-07-10T18:28:05.404" v="37"/>
          <ac:picMkLst>
            <pc:docMk/>
            <pc:sldMk cId="171335779" sldId="1953"/>
            <ac:picMk id="57" creationId="{53ACC714-8915-485D-85D6-FC6B415F7987}"/>
          </ac:picMkLst>
        </pc:picChg>
        <pc:picChg chg="mod topLvl">
          <ac:chgData name="Vincent Kharsyad [Chillibreeze]" userId="7b5f9e7a-8cb6-4e11-ad75-0918041740fe" providerId="ADAL" clId="{1E37DBC6-34A7-4D8E-B235-13DE4D4B4098}" dt="2020-07-10T18:38:19.533" v="121" actId="12789"/>
          <ac:picMkLst>
            <pc:docMk/>
            <pc:sldMk cId="171335779" sldId="1953"/>
            <ac:picMk id="66" creationId="{335198C0-7427-4D67-A564-02C489B07341}"/>
          </ac:picMkLst>
        </pc:picChg>
        <pc:picChg chg="del mod topLvl">
          <ac:chgData name="Vincent Kharsyad [Chillibreeze]" userId="7b5f9e7a-8cb6-4e11-ad75-0918041740fe" providerId="ADAL" clId="{1E37DBC6-34A7-4D8E-B235-13DE4D4B4098}" dt="2020-07-10T18:38:10.733" v="114" actId="478"/>
          <ac:picMkLst>
            <pc:docMk/>
            <pc:sldMk cId="171335779" sldId="1953"/>
            <ac:picMk id="67" creationId="{D5831500-B07E-41D6-BFC3-C47D1FB64318}"/>
          </ac:picMkLst>
        </pc:picChg>
        <pc:picChg chg="mod topLvl">
          <ac:chgData name="Vincent Kharsyad [Chillibreeze]" userId="7b5f9e7a-8cb6-4e11-ad75-0918041740fe" providerId="ADAL" clId="{1E37DBC6-34A7-4D8E-B235-13DE4D4B4098}" dt="2020-07-10T18:38:54.149" v="129" actId="12788"/>
          <ac:picMkLst>
            <pc:docMk/>
            <pc:sldMk cId="171335779" sldId="1953"/>
            <ac:picMk id="69" creationId="{7F2D3E5D-6F4B-4E01-A3A3-7D7478B26454}"/>
          </ac:picMkLst>
        </pc:picChg>
        <pc:picChg chg="del mod topLvl">
          <ac:chgData name="Vincent Kharsyad [Chillibreeze]" userId="7b5f9e7a-8cb6-4e11-ad75-0918041740fe" providerId="ADAL" clId="{1E37DBC6-34A7-4D8E-B235-13DE4D4B4098}" dt="2020-07-10T18:38:29.455" v="123" actId="478"/>
          <ac:picMkLst>
            <pc:docMk/>
            <pc:sldMk cId="171335779" sldId="1953"/>
            <ac:picMk id="70" creationId="{EA16B4AA-19CE-41E3-809D-7EC4350F64E4}"/>
          </ac:picMkLst>
        </pc:picChg>
        <pc:picChg chg="mod">
          <ac:chgData name="Vincent Kharsyad [Chillibreeze]" userId="7b5f9e7a-8cb6-4e11-ad75-0918041740fe" providerId="ADAL" clId="{1E37DBC6-34A7-4D8E-B235-13DE4D4B4098}" dt="2020-07-10T18:31:34.272" v="81"/>
          <ac:picMkLst>
            <pc:docMk/>
            <pc:sldMk cId="171335779" sldId="1953"/>
            <ac:picMk id="72" creationId="{34D6143F-5B69-415E-BE4A-6D5FBCBD30B0}"/>
          </ac:picMkLst>
        </pc:picChg>
        <pc:picChg chg="mod">
          <ac:chgData name="Vincent Kharsyad [Chillibreeze]" userId="7b5f9e7a-8cb6-4e11-ad75-0918041740fe" providerId="ADAL" clId="{1E37DBC6-34A7-4D8E-B235-13DE4D4B4098}" dt="2020-07-10T18:31:34.272" v="81"/>
          <ac:picMkLst>
            <pc:docMk/>
            <pc:sldMk cId="171335779" sldId="1953"/>
            <ac:picMk id="73" creationId="{9CA53F9F-454A-4B66-96FF-2EF97378BC0E}"/>
          </ac:picMkLst>
        </pc:picChg>
        <pc:picChg chg="mod">
          <ac:chgData name="Vincent Kharsyad [Chillibreeze]" userId="7b5f9e7a-8cb6-4e11-ad75-0918041740fe" providerId="ADAL" clId="{1E37DBC6-34A7-4D8E-B235-13DE4D4B4098}" dt="2020-07-10T18:31:34.272" v="81"/>
          <ac:picMkLst>
            <pc:docMk/>
            <pc:sldMk cId="171335779" sldId="1953"/>
            <ac:picMk id="75" creationId="{83F5B5CC-585C-4D87-9051-572010E311A5}"/>
          </ac:picMkLst>
        </pc:picChg>
        <pc:picChg chg="mod">
          <ac:chgData name="Vincent Kharsyad [Chillibreeze]" userId="7b5f9e7a-8cb6-4e11-ad75-0918041740fe" providerId="ADAL" clId="{1E37DBC6-34A7-4D8E-B235-13DE4D4B4098}" dt="2020-07-10T18:31:34.272" v="81"/>
          <ac:picMkLst>
            <pc:docMk/>
            <pc:sldMk cId="171335779" sldId="1953"/>
            <ac:picMk id="76" creationId="{FC958C66-40B6-4DEF-B8E1-2C6329BCE390}"/>
          </ac:picMkLst>
        </pc:picChg>
        <pc:picChg chg="add mod">
          <ac:chgData name="Vincent Kharsyad [Chillibreeze]" userId="7b5f9e7a-8cb6-4e11-ad75-0918041740fe" providerId="ADAL" clId="{1E37DBC6-34A7-4D8E-B235-13DE4D4B4098}" dt="2020-07-10T18:38:19.533" v="121" actId="12789"/>
          <ac:picMkLst>
            <pc:docMk/>
            <pc:sldMk cId="171335779" sldId="1953"/>
            <ac:picMk id="77" creationId="{E952FAD9-A74C-47DA-B652-2B8DACE05B00}"/>
          </ac:picMkLst>
        </pc:picChg>
        <pc:picChg chg="add mod">
          <ac:chgData name="Vincent Kharsyad [Chillibreeze]" userId="7b5f9e7a-8cb6-4e11-ad75-0918041740fe" providerId="ADAL" clId="{1E37DBC6-34A7-4D8E-B235-13DE4D4B4098}" dt="2020-07-10T18:38:54.149" v="129" actId="12788"/>
          <ac:picMkLst>
            <pc:docMk/>
            <pc:sldMk cId="171335779" sldId="1953"/>
            <ac:picMk id="78" creationId="{B08B272F-26DB-4E84-A4D1-5B9E9BCCCA7C}"/>
          </ac:picMkLst>
        </pc:picChg>
        <pc:cxnChg chg="add del mod">
          <ac:chgData name="Vincent Kharsyad [Chillibreeze]" userId="7b5f9e7a-8cb6-4e11-ad75-0918041740fe" providerId="ADAL" clId="{1E37DBC6-34A7-4D8E-B235-13DE4D4B4098}" dt="2020-07-10T18:27:45.615" v="34" actId="478"/>
          <ac:cxnSpMkLst>
            <pc:docMk/>
            <pc:sldMk cId="171335779" sldId="1953"/>
            <ac:cxnSpMk id="22" creationId="{09473045-B5FD-4EC7-B245-85089E4BBE24}"/>
          </ac:cxnSpMkLst>
        </pc:cxnChg>
        <pc:cxnChg chg="add del mod">
          <ac:chgData name="Vincent Kharsyad [Chillibreeze]" userId="7b5f9e7a-8cb6-4e11-ad75-0918041740fe" providerId="ADAL" clId="{1E37DBC6-34A7-4D8E-B235-13DE4D4B4098}" dt="2020-07-10T18:27:46.634" v="35" actId="478"/>
          <ac:cxnSpMkLst>
            <pc:docMk/>
            <pc:sldMk cId="171335779" sldId="1953"/>
            <ac:cxnSpMk id="23" creationId="{B02724C7-B4C0-4FD7-BF37-F457E65312FB}"/>
          </ac:cxnSpMkLst>
        </pc:cxnChg>
        <pc:cxnChg chg="add del mod">
          <ac:chgData name="Vincent Kharsyad [Chillibreeze]" userId="7b5f9e7a-8cb6-4e11-ad75-0918041740fe" providerId="ADAL" clId="{1E37DBC6-34A7-4D8E-B235-13DE4D4B4098}" dt="2020-07-10T18:27:47.422" v="36" actId="478"/>
          <ac:cxnSpMkLst>
            <pc:docMk/>
            <pc:sldMk cId="171335779" sldId="1953"/>
            <ac:cxnSpMk id="24" creationId="{1CDC376F-95DC-4F9E-BB56-D3F5DD1E98B2}"/>
          </ac:cxnSpMkLst>
        </pc:cxnChg>
        <pc:cxnChg chg="add del mod">
          <ac:chgData name="Vincent Kharsyad [Chillibreeze]" userId="7b5f9e7a-8cb6-4e11-ad75-0918041740fe" providerId="ADAL" clId="{1E37DBC6-34A7-4D8E-B235-13DE4D4B4098}" dt="2020-07-10T18:31:33.152" v="80" actId="478"/>
          <ac:cxnSpMkLst>
            <pc:docMk/>
            <pc:sldMk cId="171335779" sldId="1953"/>
            <ac:cxnSpMk id="43" creationId="{143B5E27-4341-4AC7-9E37-39635BC8FE9A}"/>
          </ac:cxnSpMkLst>
        </pc:cxnChg>
        <pc:cxnChg chg="add del mod">
          <ac:chgData name="Vincent Kharsyad [Chillibreeze]" userId="7b5f9e7a-8cb6-4e11-ad75-0918041740fe" providerId="ADAL" clId="{1E37DBC6-34A7-4D8E-B235-13DE4D4B4098}" dt="2020-07-10T18:31:33.152" v="80" actId="478"/>
          <ac:cxnSpMkLst>
            <pc:docMk/>
            <pc:sldMk cId="171335779" sldId="1953"/>
            <ac:cxnSpMk id="44" creationId="{342B752D-2EBA-4E48-98DD-1D1513E44336}"/>
          </ac:cxnSpMkLst>
        </pc:cxnChg>
        <pc:cxnChg chg="add del mod">
          <ac:chgData name="Vincent Kharsyad [Chillibreeze]" userId="7b5f9e7a-8cb6-4e11-ad75-0918041740fe" providerId="ADAL" clId="{1E37DBC6-34A7-4D8E-B235-13DE4D4B4098}" dt="2020-07-10T18:31:33.152" v="80" actId="478"/>
          <ac:cxnSpMkLst>
            <pc:docMk/>
            <pc:sldMk cId="171335779" sldId="1953"/>
            <ac:cxnSpMk id="45" creationId="{DD629EB7-D6ED-4A6C-B9D9-5150FB62BA50}"/>
          </ac:cxnSpMkLst>
        </pc:cxnChg>
        <pc:cxnChg chg="add mod">
          <ac:chgData name="Vincent Kharsyad [Chillibreeze]" userId="7b5f9e7a-8cb6-4e11-ad75-0918041740fe" providerId="ADAL" clId="{1E37DBC6-34A7-4D8E-B235-13DE4D4B4098}" dt="2020-07-10T18:33:43.020" v="107" actId="465"/>
          <ac:cxnSpMkLst>
            <pc:docMk/>
            <pc:sldMk cId="171335779" sldId="1953"/>
            <ac:cxnSpMk id="62" creationId="{F117B5C7-B860-4392-92D6-75760243CA23}"/>
          </ac:cxnSpMkLst>
        </pc:cxnChg>
        <pc:cxnChg chg="add mod">
          <ac:chgData name="Vincent Kharsyad [Chillibreeze]" userId="7b5f9e7a-8cb6-4e11-ad75-0918041740fe" providerId="ADAL" clId="{1E37DBC6-34A7-4D8E-B235-13DE4D4B4098}" dt="2020-07-10T18:33:39.436" v="106" actId="465"/>
          <ac:cxnSpMkLst>
            <pc:docMk/>
            <pc:sldMk cId="171335779" sldId="1953"/>
            <ac:cxnSpMk id="63" creationId="{5BBF24D0-E593-4C66-98BC-259F10749C85}"/>
          </ac:cxnSpMkLst>
        </pc:cxnChg>
        <pc:cxnChg chg="add mod">
          <ac:chgData name="Vincent Kharsyad [Chillibreeze]" userId="7b5f9e7a-8cb6-4e11-ad75-0918041740fe" providerId="ADAL" clId="{1E37DBC6-34A7-4D8E-B235-13DE4D4B4098}" dt="2020-07-10T18:33:34.612" v="105" actId="465"/>
          <ac:cxnSpMkLst>
            <pc:docMk/>
            <pc:sldMk cId="171335779" sldId="1953"/>
            <ac:cxnSpMk id="64" creationId="{7E19AA60-EAFD-4E4A-B8F6-EFCE82CB481E}"/>
          </ac:cxnSpMkLst>
        </pc:cxnChg>
      </pc:sldChg>
      <pc:sldChg chg="delSp modSp mod">
        <pc:chgData name="Vincent Kharsyad [Chillibreeze]" userId="7b5f9e7a-8cb6-4e11-ad75-0918041740fe" providerId="ADAL" clId="{1E37DBC6-34A7-4D8E-B235-13DE4D4B4098}" dt="2020-07-10T18:48:09.669" v="158" actId="554"/>
        <pc:sldMkLst>
          <pc:docMk/>
          <pc:sldMk cId="3465062807" sldId="1955"/>
        </pc:sldMkLst>
        <pc:spChg chg="del mod">
          <ac:chgData name="Vincent Kharsyad [Chillibreeze]" userId="7b5f9e7a-8cb6-4e11-ad75-0918041740fe" providerId="ADAL" clId="{1E37DBC6-34A7-4D8E-B235-13DE4D4B4098}" dt="2020-07-10T18:43:24.277" v="149" actId="478"/>
          <ac:spMkLst>
            <pc:docMk/>
            <pc:sldMk cId="3465062807" sldId="1955"/>
            <ac:spMk id="26" creationId="{18BB5887-A9EC-4472-A182-F0661F82D9D2}"/>
          </ac:spMkLst>
        </pc:spChg>
        <pc:spChg chg="mod">
          <ac:chgData name="Vincent Kharsyad [Chillibreeze]" userId="7b5f9e7a-8cb6-4e11-ad75-0918041740fe" providerId="ADAL" clId="{1E37DBC6-34A7-4D8E-B235-13DE4D4B4098}" dt="2020-07-10T18:40:57.459" v="131" actId="14100"/>
          <ac:spMkLst>
            <pc:docMk/>
            <pc:sldMk cId="3465062807" sldId="1955"/>
            <ac:spMk id="41" creationId="{A4074F7C-1E1E-4F5D-9519-7F86A3B789E3}"/>
          </ac:spMkLst>
        </pc:spChg>
        <pc:spChg chg="mod">
          <ac:chgData name="Vincent Kharsyad [Chillibreeze]" userId="7b5f9e7a-8cb6-4e11-ad75-0918041740fe" providerId="ADAL" clId="{1E37DBC6-34A7-4D8E-B235-13DE4D4B4098}" dt="2020-07-10T18:43:21.843" v="148" actId="552"/>
          <ac:spMkLst>
            <pc:docMk/>
            <pc:sldMk cId="3465062807" sldId="1955"/>
            <ac:spMk id="42" creationId="{9CE875F1-2051-44B5-9DF5-7372FB48BFA8}"/>
          </ac:spMkLst>
        </pc:spChg>
        <pc:spChg chg="mod">
          <ac:chgData name="Vincent Kharsyad [Chillibreeze]" userId="7b5f9e7a-8cb6-4e11-ad75-0918041740fe" providerId="ADAL" clId="{1E37DBC6-34A7-4D8E-B235-13DE4D4B4098}" dt="2020-07-10T18:48:09.669" v="158" actId="554"/>
          <ac:spMkLst>
            <pc:docMk/>
            <pc:sldMk cId="3465062807" sldId="1955"/>
            <ac:spMk id="47" creationId="{C2951750-11E6-4E4B-858C-80DD884D9232}"/>
          </ac:spMkLst>
        </pc:spChg>
        <pc:grpChg chg="mod">
          <ac:chgData name="Vincent Kharsyad [Chillibreeze]" userId="7b5f9e7a-8cb6-4e11-ad75-0918041740fe" providerId="ADAL" clId="{1E37DBC6-34A7-4D8E-B235-13DE4D4B4098}" dt="2020-07-10T18:42:59.909" v="144" actId="12789"/>
          <ac:grpSpMkLst>
            <pc:docMk/>
            <pc:sldMk cId="3465062807" sldId="1955"/>
            <ac:grpSpMk id="3" creationId="{62EFB8DF-AB51-40FB-A2F1-4CD5D263FC59}"/>
          </ac:grpSpMkLst>
        </pc:grpChg>
        <pc:grpChg chg="mod">
          <ac:chgData name="Vincent Kharsyad [Chillibreeze]" userId="7b5f9e7a-8cb6-4e11-ad75-0918041740fe" providerId="ADAL" clId="{1E37DBC6-34A7-4D8E-B235-13DE4D4B4098}" dt="2020-07-10T18:48:09.669" v="158" actId="554"/>
          <ac:grpSpMkLst>
            <pc:docMk/>
            <pc:sldMk cId="3465062807" sldId="1955"/>
            <ac:grpSpMk id="13" creationId="{F94EC889-3234-4146-BF18-F975E368761F}"/>
          </ac:grpSpMkLst>
        </pc:grpChg>
        <pc:cxnChg chg="del">
          <ac:chgData name="Vincent Kharsyad [Chillibreeze]" userId="7b5f9e7a-8cb6-4e11-ad75-0918041740fe" providerId="ADAL" clId="{1E37DBC6-34A7-4D8E-B235-13DE4D4B4098}" dt="2020-07-10T18:41:37.333" v="132" actId="478"/>
          <ac:cxnSpMkLst>
            <pc:docMk/>
            <pc:sldMk cId="3465062807" sldId="1955"/>
            <ac:cxnSpMk id="9" creationId="{67BE210C-375D-43EF-A252-5156D154890D}"/>
          </ac:cxnSpMkLst>
        </pc:cxnChg>
        <pc:cxnChg chg="mod">
          <ac:chgData name="Vincent Kharsyad [Chillibreeze]" userId="7b5f9e7a-8cb6-4e11-ad75-0918041740fe" providerId="ADAL" clId="{1E37DBC6-34A7-4D8E-B235-13DE4D4B4098}" dt="2020-07-10T18:43:42.749" v="152" actId="465"/>
          <ac:cxnSpMkLst>
            <pc:docMk/>
            <pc:sldMk cId="3465062807" sldId="1955"/>
            <ac:cxnSpMk id="37" creationId="{6EBEA3CE-073E-44F2-97C7-0BC8CD1C2702}"/>
          </ac:cxnSpMkLst>
        </pc:cxnChg>
      </pc:sldChg>
    </pc:docChg>
  </pc:docChgLst>
  <pc:docChgLst>
    <pc:chgData name="Wanlambok Nongbet [Chillibreeze]" userId="6bf028ea-505a-4797-9fbe-498829f78d74" providerId="ADAL" clId="{4621DC45-EED2-46EA-AE72-442C9205C2C4}"/>
    <pc:docChg chg="modSld">
      <pc:chgData name="Wanlambok Nongbet [Chillibreeze]" userId="6bf028ea-505a-4797-9fbe-498829f78d74" providerId="ADAL" clId="{4621DC45-EED2-46EA-AE72-442C9205C2C4}" dt="2020-07-14T17:28:40.685" v="5" actId="122"/>
      <pc:docMkLst>
        <pc:docMk/>
      </pc:docMkLst>
      <pc:sldChg chg="modSp">
        <pc:chgData name="Wanlambok Nongbet [Chillibreeze]" userId="6bf028ea-505a-4797-9fbe-498829f78d74" providerId="ADAL" clId="{4621DC45-EED2-46EA-AE72-442C9205C2C4}" dt="2020-07-14T17:27:33.641" v="0"/>
        <pc:sldMkLst>
          <pc:docMk/>
          <pc:sldMk cId="2543009755" sldId="1938"/>
        </pc:sldMkLst>
        <pc:spChg chg="mod">
          <ac:chgData name="Wanlambok Nongbet [Chillibreeze]" userId="6bf028ea-505a-4797-9fbe-498829f78d74" providerId="ADAL" clId="{4621DC45-EED2-46EA-AE72-442C9205C2C4}" dt="2020-07-14T17:27:33.641" v="0"/>
          <ac:spMkLst>
            <pc:docMk/>
            <pc:sldMk cId="2543009755" sldId="1938"/>
            <ac:spMk id="2" creationId="{06456474-6022-48BB-A434-CF09068ED1E2}"/>
          </ac:spMkLst>
        </pc:spChg>
      </pc:sldChg>
      <pc:sldChg chg="modSp mod">
        <pc:chgData name="Wanlambok Nongbet [Chillibreeze]" userId="6bf028ea-505a-4797-9fbe-498829f78d74" providerId="ADAL" clId="{4621DC45-EED2-46EA-AE72-442C9205C2C4}" dt="2020-07-14T17:28:35.975" v="4" actId="6549"/>
        <pc:sldMkLst>
          <pc:docMk/>
          <pc:sldMk cId="2496113293" sldId="1946"/>
        </pc:sldMkLst>
        <pc:spChg chg="mod">
          <ac:chgData name="Wanlambok Nongbet [Chillibreeze]" userId="6bf028ea-505a-4797-9fbe-498829f78d74" providerId="ADAL" clId="{4621DC45-EED2-46EA-AE72-442C9205C2C4}" dt="2020-07-14T17:28:35.975" v="4" actId="6549"/>
          <ac:spMkLst>
            <pc:docMk/>
            <pc:sldMk cId="2496113293" sldId="1946"/>
            <ac:spMk id="5" creationId="{6A65032E-C239-46AC-804F-8326EE47CF22}"/>
          </ac:spMkLst>
        </pc:spChg>
      </pc:sldChg>
      <pc:sldChg chg="modSp mod">
        <pc:chgData name="Wanlambok Nongbet [Chillibreeze]" userId="6bf028ea-505a-4797-9fbe-498829f78d74" providerId="ADAL" clId="{4621DC45-EED2-46EA-AE72-442C9205C2C4}" dt="2020-07-14T17:28:40.685" v="5" actId="122"/>
        <pc:sldMkLst>
          <pc:docMk/>
          <pc:sldMk cId="397689141" sldId="1947"/>
        </pc:sldMkLst>
        <pc:graphicFrameChg chg="modGraphic">
          <ac:chgData name="Wanlambok Nongbet [Chillibreeze]" userId="6bf028ea-505a-4797-9fbe-498829f78d74" providerId="ADAL" clId="{4621DC45-EED2-46EA-AE72-442C9205C2C4}" dt="2020-07-14T17:28:40.685" v="5" actId="122"/>
          <ac:graphicFrameMkLst>
            <pc:docMk/>
            <pc:sldMk cId="397689141" sldId="1947"/>
            <ac:graphicFrameMk id="5" creationId="{BB2E8574-165F-401A-B5E3-4F49F153932F}"/>
          </ac:graphicFrameMkLst>
        </pc:graphicFrameChg>
      </pc:sldChg>
    </pc:docChg>
  </pc:docChgLst>
  <pc:docChgLst>
    <pc:chgData name="Robert [Chillibreeze]" userId="8fe5ebfe-980d-441d-bbff-8c5265b810b8" providerId="ADAL" clId="{4BC7C303-6817-4DD0-BC16-1C2B3CEE4315}"/>
    <pc:docChg chg="modSld">
      <pc:chgData name="Robert [Chillibreeze]" userId="8fe5ebfe-980d-441d-bbff-8c5265b810b8" providerId="ADAL" clId="{4BC7C303-6817-4DD0-BC16-1C2B3CEE4315}" dt="2020-07-11T08:56:33.127" v="0"/>
      <pc:docMkLst>
        <pc:docMk/>
      </pc:docMkLst>
      <pc:sldChg chg="addSp delSp modSp">
        <pc:chgData name="Robert [Chillibreeze]" userId="8fe5ebfe-980d-441d-bbff-8c5265b810b8" providerId="ADAL" clId="{4BC7C303-6817-4DD0-BC16-1C2B3CEE4315}" dt="2020-07-11T08:56:33.127" v="0"/>
        <pc:sldMkLst>
          <pc:docMk/>
          <pc:sldMk cId="316322398" sldId="1870"/>
        </pc:sldMkLst>
        <pc:spChg chg="mod">
          <ac:chgData name="Robert [Chillibreeze]" userId="8fe5ebfe-980d-441d-bbff-8c5265b810b8" providerId="ADAL" clId="{4BC7C303-6817-4DD0-BC16-1C2B3CEE4315}" dt="2020-07-11T08:56:33.127" v="0"/>
          <ac:spMkLst>
            <pc:docMk/>
            <pc:sldMk cId="316322398" sldId="1870"/>
            <ac:spMk id="2" creationId="{5F359BF1-DFBD-478C-ACA3-333D99FCFEDF}"/>
          </ac:spMkLst>
        </pc:spChg>
        <pc:spChg chg="add del mod">
          <ac:chgData name="Robert [Chillibreeze]" userId="8fe5ebfe-980d-441d-bbff-8c5265b810b8" providerId="ADAL" clId="{4BC7C303-6817-4DD0-BC16-1C2B3CEE4315}" dt="2020-07-11T08:56:33.127" v="0"/>
          <ac:spMkLst>
            <pc:docMk/>
            <pc:sldMk cId="316322398" sldId="1870"/>
            <ac:spMk id="38" creationId="{C2C0EFAD-7E69-4682-BAB3-CFEBDFCF2C22}"/>
          </ac:spMkLst>
        </pc:spChg>
      </pc:sldChg>
    </pc:docChg>
  </pc:docChgLst>
  <pc:docChgLst>
    <pc:chgData name="Robert [Chillibreeze]" userId="8fe5ebfe-980d-441d-bbff-8c5265b810b8" providerId="ADAL" clId="{0A564B7B-25DF-4F0C-9519-4923F08F0708}"/>
    <pc:docChg chg="undo custSel modSld">
      <pc:chgData name="Robert [Chillibreeze]" userId="8fe5ebfe-980d-441d-bbff-8c5265b810b8" providerId="ADAL" clId="{0A564B7B-25DF-4F0C-9519-4923F08F0708}" dt="2020-07-10T05:04:24.014" v="130"/>
      <pc:docMkLst>
        <pc:docMk/>
      </pc:docMkLst>
      <pc:sldChg chg="addSp delSp modSp mod">
        <pc:chgData name="Robert [Chillibreeze]" userId="8fe5ebfe-980d-441d-bbff-8c5265b810b8" providerId="ADAL" clId="{0A564B7B-25DF-4F0C-9519-4923F08F0708}" dt="2020-07-10T04:50:38.295" v="57" actId="165"/>
        <pc:sldMkLst>
          <pc:docMk/>
          <pc:sldMk cId="538405057" sldId="270"/>
        </pc:sldMkLst>
        <pc:spChg chg="add del mod">
          <ac:chgData name="Robert [Chillibreeze]" userId="8fe5ebfe-980d-441d-bbff-8c5265b810b8" providerId="ADAL" clId="{0A564B7B-25DF-4F0C-9519-4923F08F0708}" dt="2020-07-10T04:49:12.950" v="33"/>
          <ac:spMkLst>
            <pc:docMk/>
            <pc:sldMk cId="538405057" sldId="270"/>
            <ac:spMk id="2" creationId="{FAE1554D-6467-4896-8F80-3249BADD4956}"/>
          </ac:spMkLst>
        </pc:spChg>
        <pc:spChg chg="add del mod">
          <ac:chgData name="Robert [Chillibreeze]" userId="8fe5ebfe-980d-441d-bbff-8c5265b810b8" providerId="ADAL" clId="{0A564B7B-25DF-4F0C-9519-4923F08F0708}" dt="2020-07-10T04:49:13.087" v="34"/>
          <ac:spMkLst>
            <pc:docMk/>
            <pc:sldMk cId="538405057" sldId="270"/>
            <ac:spMk id="3" creationId="{DAF95B51-3E4E-46E8-9102-5D80FEB41739}"/>
          </ac:spMkLst>
        </pc:spChg>
        <pc:spChg chg="add del mod">
          <ac:chgData name="Robert [Chillibreeze]" userId="8fe5ebfe-980d-441d-bbff-8c5265b810b8" providerId="ADAL" clId="{0A564B7B-25DF-4F0C-9519-4923F08F0708}" dt="2020-07-10T04:49:13.223" v="35"/>
          <ac:spMkLst>
            <pc:docMk/>
            <pc:sldMk cId="538405057" sldId="270"/>
            <ac:spMk id="4" creationId="{AE0C9CE2-2D50-492F-A188-E192365014B1}"/>
          </ac:spMkLst>
        </pc:spChg>
        <pc:spChg chg="mod">
          <ac:chgData name="Robert [Chillibreeze]" userId="8fe5ebfe-980d-441d-bbff-8c5265b810b8" providerId="ADAL" clId="{0A564B7B-25DF-4F0C-9519-4923F08F0708}" dt="2020-07-10T04:49:13.351" v="36"/>
          <ac:spMkLst>
            <pc:docMk/>
            <pc:sldMk cId="538405057" sldId="270"/>
            <ac:spMk id="5" creationId="{9FB8ADF5-073C-4EA8-92ED-75BD62573B19}"/>
          </ac:spMkLst>
        </pc:spChg>
        <pc:spChg chg="add del mod">
          <ac:chgData name="Robert [Chillibreeze]" userId="8fe5ebfe-980d-441d-bbff-8c5265b810b8" providerId="ADAL" clId="{0A564B7B-25DF-4F0C-9519-4923F08F0708}" dt="2020-07-10T04:49:13.351" v="36"/>
          <ac:spMkLst>
            <pc:docMk/>
            <pc:sldMk cId="538405057" sldId="270"/>
            <ac:spMk id="8" creationId="{81E07597-48F4-4587-AEF2-DADFE9CE4BC7}"/>
          </ac:spMkLst>
        </pc:spChg>
        <pc:spChg chg="mod">
          <ac:chgData name="Robert [Chillibreeze]" userId="8fe5ebfe-980d-441d-bbff-8c5265b810b8" providerId="ADAL" clId="{0A564B7B-25DF-4F0C-9519-4923F08F0708}" dt="2020-07-10T04:50:30.878" v="53" actId="165"/>
          <ac:spMkLst>
            <pc:docMk/>
            <pc:sldMk cId="538405057" sldId="270"/>
            <ac:spMk id="12" creationId="{546E5C1F-74BE-4340-8F5B-420FEABFECCF}"/>
          </ac:spMkLst>
        </pc:spChg>
        <pc:spChg chg="mod">
          <ac:chgData name="Robert [Chillibreeze]" userId="8fe5ebfe-980d-441d-bbff-8c5265b810b8" providerId="ADAL" clId="{0A564B7B-25DF-4F0C-9519-4923F08F0708}" dt="2020-07-10T04:50:30.878" v="53" actId="165"/>
          <ac:spMkLst>
            <pc:docMk/>
            <pc:sldMk cId="538405057" sldId="270"/>
            <ac:spMk id="13" creationId="{45374ABC-BC10-4AE3-B360-C14D48B08ED9}"/>
          </ac:spMkLst>
        </pc:spChg>
        <pc:spChg chg="mod">
          <ac:chgData name="Robert [Chillibreeze]" userId="8fe5ebfe-980d-441d-bbff-8c5265b810b8" providerId="ADAL" clId="{0A564B7B-25DF-4F0C-9519-4923F08F0708}" dt="2020-07-10T04:50:38.295" v="57" actId="165"/>
          <ac:spMkLst>
            <pc:docMk/>
            <pc:sldMk cId="538405057" sldId="270"/>
            <ac:spMk id="15" creationId="{7DF4C34D-92A2-4A4C-9B89-91D0E155B31D}"/>
          </ac:spMkLst>
        </pc:spChg>
        <pc:spChg chg="mod">
          <ac:chgData name="Robert [Chillibreeze]" userId="8fe5ebfe-980d-441d-bbff-8c5265b810b8" providerId="ADAL" clId="{0A564B7B-25DF-4F0C-9519-4923F08F0708}" dt="2020-07-10T04:50:38.295" v="57" actId="165"/>
          <ac:spMkLst>
            <pc:docMk/>
            <pc:sldMk cId="538405057" sldId="270"/>
            <ac:spMk id="16" creationId="{6194CD4B-6F5A-40DD-BBE2-C2BAFD84A2C7}"/>
          </ac:spMkLst>
        </pc:spChg>
        <pc:spChg chg="mod">
          <ac:chgData name="Robert [Chillibreeze]" userId="8fe5ebfe-980d-441d-bbff-8c5265b810b8" providerId="ADAL" clId="{0A564B7B-25DF-4F0C-9519-4923F08F0708}" dt="2020-07-10T04:50:24.187" v="48" actId="12789"/>
          <ac:spMkLst>
            <pc:docMk/>
            <pc:sldMk cId="538405057" sldId="270"/>
            <ac:spMk id="18" creationId="{0403DA30-A6DC-41B3-95BC-D86DE79E0CA8}"/>
          </ac:spMkLst>
        </pc:spChg>
        <pc:spChg chg="mod">
          <ac:chgData name="Robert [Chillibreeze]" userId="8fe5ebfe-980d-441d-bbff-8c5265b810b8" providerId="ADAL" clId="{0A564B7B-25DF-4F0C-9519-4923F08F0708}" dt="2020-07-10T04:50:30.398" v="52" actId="554"/>
          <ac:spMkLst>
            <pc:docMk/>
            <pc:sldMk cId="538405057" sldId="270"/>
            <ac:spMk id="19" creationId="{D3DCD1B3-879E-436B-A30C-D4803B6BDBC8}"/>
          </ac:spMkLst>
        </pc:spChg>
        <pc:spChg chg="mod">
          <ac:chgData name="Robert [Chillibreeze]" userId="8fe5ebfe-980d-441d-bbff-8c5265b810b8" providerId="ADAL" clId="{0A564B7B-25DF-4F0C-9519-4923F08F0708}" dt="2020-07-10T04:50:36.527" v="56" actId="12789"/>
          <ac:spMkLst>
            <pc:docMk/>
            <pc:sldMk cId="538405057" sldId="270"/>
            <ac:spMk id="20" creationId="{072FFAA3-4F6F-496F-A9FB-BE70CFFF2344}"/>
          </ac:spMkLst>
        </pc:spChg>
        <pc:grpChg chg="add del mod">
          <ac:chgData name="Robert [Chillibreeze]" userId="8fe5ebfe-980d-441d-bbff-8c5265b810b8" providerId="ADAL" clId="{0A564B7B-25DF-4F0C-9519-4923F08F0708}" dt="2020-07-10T04:50:30.878" v="53" actId="165"/>
          <ac:grpSpMkLst>
            <pc:docMk/>
            <pc:sldMk cId="538405057" sldId="270"/>
            <ac:grpSpMk id="9" creationId="{8BEC7AC3-3D80-479B-9478-AAC34181CB2D}"/>
          </ac:grpSpMkLst>
        </pc:grpChg>
        <pc:grpChg chg="mod">
          <ac:chgData name="Robert [Chillibreeze]" userId="8fe5ebfe-980d-441d-bbff-8c5265b810b8" providerId="ADAL" clId="{0A564B7B-25DF-4F0C-9519-4923F08F0708}" dt="2020-07-10T04:50:24.187" v="48" actId="12789"/>
          <ac:grpSpMkLst>
            <pc:docMk/>
            <pc:sldMk cId="538405057" sldId="270"/>
            <ac:grpSpMk id="10" creationId="{7E80ADEB-0FA0-4C43-881B-BACCD83AE3E0}"/>
          </ac:grpSpMkLst>
        </pc:grpChg>
        <pc:grpChg chg="mod topLvl">
          <ac:chgData name="Robert [Chillibreeze]" userId="8fe5ebfe-980d-441d-bbff-8c5265b810b8" providerId="ADAL" clId="{0A564B7B-25DF-4F0C-9519-4923F08F0708}" dt="2020-07-10T04:50:30.878" v="53" actId="165"/>
          <ac:grpSpMkLst>
            <pc:docMk/>
            <pc:sldMk cId="538405057" sldId="270"/>
            <ac:grpSpMk id="11" creationId="{31DC2488-5FC3-4BC3-9060-CA10A4048D31}"/>
          </ac:grpSpMkLst>
        </pc:grpChg>
        <pc:grpChg chg="mod topLvl">
          <ac:chgData name="Robert [Chillibreeze]" userId="8fe5ebfe-980d-441d-bbff-8c5265b810b8" providerId="ADAL" clId="{0A564B7B-25DF-4F0C-9519-4923F08F0708}" dt="2020-07-10T04:50:38.295" v="57" actId="165"/>
          <ac:grpSpMkLst>
            <pc:docMk/>
            <pc:sldMk cId="538405057" sldId="270"/>
            <ac:grpSpMk id="14" creationId="{CF8ADB33-A30D-4BFD-827F-A5AD06A09FF5}"/>
          </ac:grpSpMkLst>
        </pc:grpChg>
        <pc:grpChg chg="add del mod">
          <ac:chgData name="Robert [Chillibreeze]" userId="8fe5ebfe-980d-441d-bbff-8c5265b810b8" providerId="ADAL" clId="{0A564B7B-25DF-4F0C-9519-4923F08F0708}" dt="2020-07-10T04:50:38.295" v="57" actId="165"/>
          <ac:grpSpMkLst>
            <pc:docMk/>
            <pc:sldMk cId="538405057" sldId="270"/>
            <ac:grpSpMk id="17" creationId="{577D5CB4-E3DA-4174-86BE-8D67C9F8C6C1}"/>
          </ac:grpSpMkLst>
        </pc:grpChg>
        <pc:picChg chg="mod">
          <ac:chgData name="Robert [Chillibreeze]" userId="8fe5ebfe-980d-441d-bbff-8c5265b810b8" providerId="ADAL" clId="{0A564B7B-25DF-4F0C-9519-4923F08F0708}" dt="2020-07-10T04:50:24.187" v="48" actId="12789"/>
          <ac:picMkLst>
            <pc:docMk/>
            <pc:sldMk cId="538405057" sldId="270"/>
            <ac:picMk id="27" creationId="{26819D43-9038-4C78-AB62-B94C69377D9E}"/>
          </ac:picMkLst>
        </pc:picChg>
        <pc:picChg chg="mod topLvl">
          <ac:chgData name="Robert [Chillibreeze]" userId="8fe5ebfe-980d-441d-bbff-8c5265b810b8" providerId="ADAL" clId="{0A564B7B-25DF-4F0C-9519-4923F08F0708}" dt="2020-07-10T04:50:30.878" v="53" actId="165"/>
          <ac:picMkLst>
            <pc:docMk/>
            <pc:sldMk cId="538405057" sldId="270"/>
            <ac:picMk id="28" creationId="{A03E3BB0-A691-4D14-8B24-010995DFE6C2}"/>
          </ac:picMkLst>
        </pc:picChg>
        <pc:picChg chg="mod topLvl">
          <ac:chgData name="Robert [Chillibreeze]" userId="8fe5ebfe-980d-441d-bbff-8c5265b810b8" providerId="ADAL" clId="{0A564B7B-25DF-4F0C-9519-4923F08F0708}" dt="2020-07-10T04:50:38.295" v="57" actId="165"/>
          <ac:picMkLst>
            <pc:docMk/>
            <pc:sldMk cId="538405057" sldId="270"/>
            <ac:picMk id="29" creationId="{A81762B3-1031-4B59-BDB5-CFB6D7B208EF}"/>
          </ac:picMkLst>
        </pc:picChg>
        <pc:cxnChg chg="mod">
          <ac:chgData name="Robert [Chillibreeze]" userId="8fe5ebfe-980d-441d-bbff-8c5265b810b8" providerId="ADAL" clId="{0A564B7B-25DF-4F0C-9519-4923F08F0708}" dt="2020-07-10T04:50:16.206" v="47" actId="465"/>
          <ac:cxnSpMkLst>
            <pc:docMk/>
            <pc:sldMk cId="538405057" sldId="270"/>
            <ac:cxnSpMk id="22" creationId="{FDBC32EB-2ECD-45A5-B13A-7D1062AAE7AA}"/>
          </ac:cxnSpMkLst>
        </pc:cxnChg>
        <pc:cxnChg chg="mod">
          <ac:chgData name="Robert [Chillibreeze]" userId="8fe5ebfe-980d-441d-bbff-8c5265b810b8" providerId="ADAL" clId="{0A564B7B-25DF-4F0C-9519-4923F08F0708}" dt="2020-07-10T04:50:16.206" v="47" actId="465"/>
          <ac:cxnSpMkLst>
            <pc:docMk/>
            <pc:sldMk cId="538405057" sldId="270"/>
            <ac:cxnSpMk id="24" creationId="{828B35F5-48CE-4647-8F1F-E5293675B52A}"/>
          </ac:cxnSpMkLst>
        </pc:cxnChg>
      </pc:sldChg>
      <pc:sldChg chg="addSp delSp modSp mod">
        <pc:chgData name="Robert [Chillibreeze]" userId="8fe5ebfe-980d-441d-bbff-8c5265b810b8" providerId="ADAL" clId="{0A564B7B-25DF-4F0C-9519-4923F08F0708}" dt="2020-07-10T04:59:01.029" v="80"/>
        <pc:sldMkLst>
          <pc:docMk/>
          <pc:sldMk cId="1793706927" sldId="1670"/>
        </pc:sldMkLst>
        <pc:spChg chg="add del mod">
          <ac:chgData name="Robert [Chillibreeze]" userId="8fe5ebfe-980d-441d-bbff-8c5265b810b8" providerId="ADAL" clId="{0A564B7B-25DF-4F0C-9519-4923F08F0708}" dt="2020-07-10T04:59:00.759" v="78"/>
          <ac:spMkLst>
            <pc:docMk/>
            <pc:sldMk cId="1793706927" sldId="1670"/>
            <ac:spMk id="2" creationId="{7F15A4AB-E17C-456B-BA9F-FB1A8427BC87}"/>
          </ac:spMkLst>
        </pc:spChg>
        <pc:spChg chg="add del mod">
          <ac:chgData name="Robert [Chillibreeze]" userId="8fe5ebfe-980d-441d-bbff-8c5265b810b8" providerId="ADAL" clId="{0A564B7B-25DF-4F0C-9519-4923F08F0708}" dt="2020-07-10T04:59:00.903" v="79"/>
          <ac:spMkLst>
            <pc:docMk/>
            <pc:sldMk cId="1793706927" sldId="1670"/>
            <ac:spMk id="3" creationId="{2590024F-49B0-45F9-AB81-9B5ED9409EC8}"/>
          </ac:spMkLst>
        </pc:spChg>
        <pc:spChg chg="add del mod">
          <ac:chgData name="Robert [Chillibreeze]" userId="8fe5ebfe-980d-441d-bbff-8c5265b810b8" providerId="ADAL" clId="{0A564B7B-25DF-4F0C-9519-4923F08F0708}" dt="2020-07-10T04:59:01.029" v="80"/>
          <ac:spMkLst>
            <pc:docMk/>
            <pc:sldMk cId="1793706927" sldId="1670"/>
            <ac:spMk id="4" creationId="{FFACEDCC-8E54-423C-8D6F-FCAA1F528DDF}"/>
          </ac:spMkLst>
        </pc:spChg>
        <pc:spChg chg="mod">
          <ac:chgData name="Robert [Chillibreeze]" userId="8fe5ebfe-980d-441d-bbff-8c5265b810b8" providerId="ADAL" clId="{0A564B7B-25DF-4F0C-9519-4923F08F0708}" dt="2020-07-10T04:59:01.029" v="80"/>
          <ac:spMkLst>
            <pc:docMk/>
            <pc:sldMk cId="1793706927" sldId="1670"/>
            <ac:spMk id="162" creationId="{A8A35675-4814-4068-8991-F4BFC81ABC9C}"/>
          </ac:spMkLst>
        </pc:spChg>
        <pc:picChg chg="mod">
          <ac:chgData name="Robert [Chillibreeze]" userId="8fe5ebfe-980d-441d-bbff-8c5265b810b8" providerId="ADAL" clId="{0A564B7B-25DF-4F0C-9519-4923F08F0708}" dt="2020-07-10T04:54:57" v="77" actId="1076"/>
          <ac:picMkLst>
            <pc:docMk/>
            <pc:sldMk cId="1793706927" sldId="1670"/>
            <ac:picMk id="148" creationId="{1A8BC403-F1B2-4F8E-B965-94CF66AE3564}"/>
          </ac:picMkLst>
        </pc:picChg>
      </pc:sldChg>
      <pc:sldChg chg="addSp delSp modSp mod">
        <pc:chgData name="Robert [Chillibreeze]" userId="8fe5ebfe-980d-441d-bbff-8c5265b810b8" providerId="ADAL" clId="{0A564B7B-25DF-4F0C-9519-4923F08F0708}" dt="2020-07-10T04:49:08.495" v="32" actId="207"/>
        <pc:sldMkLst>
          <pc:docMk/>
          <pc:sldMk cId="3635852913" sldId="1719"/>
        </pc:sldMkLst>
        <pc:spChg chg="add del mod">
          <ac:chgData name="Robert [Chillibreeze]" userId="8fe5ebfe-980d-441d-bbff-8c5265b810b8" providerId="ADAL" clId="{0A564B7B-25DF-4F0C-9519-4923F08F0708}" dt="2020-07-10T04:48:28.579" v="13"/>
          <ac:spMkLst>
            <pc:docMk/>
            <pc:sldMk cId="3635852913" sldId="1719"/>
            <ac:spMk id="2" creationId="{6118F4E8-9E3C-4119-9E27-D5792013F946}"/>
          </ac:spMkLst>
        </pc:spChg>
        <pc:spChg chg="add del mod">
          <ac:chgData name="Robert [Chillibreeze]" userId="8fe5ebfe-980d-441d-bbff-8c5265b810b8" providerId="ADAL" clId="{0A564B7B-25DF-4F0C-9519-4923F08F0708}" dt="2020-07-10T04:48:26.852" v="12"/>
          <ac:spMkLst>
            <pc:docMk/>
            <pc:sldMk cId="3635852913" sldId="1719"/>
            <ac:spMk id="3" creationId="{9305452B-9243-4479-AC2F-5438C00734DB}"/>
          </ac:spMkLst>
        </pc:spChg>
        <pc:spChg chg="mod">
          <ac:chgData name="Robert [Chillibreeze]" userId="8fe5ebfe-980d-441d-bbff-8c5265b810b8" providerId="ADAL" clId="{0A564B7B-25DF-4F0C-9519-4923F08F0708}" dt="2020-07-10T04:49:08.495" v="32" actId="207"/>
          <ac:spMkLst>
            <pc:docMk/>
            <pc:sldMk cId="3635852913" sldId="1719"/>
            <ac:spMk id="4" creationId="{00000000-0000-0000-0000-000000000000}"/>
          </ac:spMkLst>
        </pc:spChg>
        <pc:spChg chg="add del mod">
          <ac:chgData name="Robert [Chillibreeze]" userId="8fe5ebfe-980d-441d-bbff-8c5265b810b8" providerId="ADAL" clId="{0A564B7B-25DF-4F0C-9519-4923F08F0708}" dt="2020-07-10T04:48:26.537" v="11"/>
          <ac:spMkLst>
            <pc:docMk/>
            <pc:sldMk cId="3635852913" sldId="1719"/>
            <ac:spMk id="5" creationId="{A8888FC0-E772-4A5C-B489-DBF93C1C56F7}"/>
          </ac:spMkLst>
        </pc:spChg>
        <pc:spChg chg="add del mod">
          <ac:chgData name="Robert [Chillibreeze]" userId="8fe5ebfe-980d-441d-bbff-8c5265b810b8" providerId="ADAL" clId="{0A564B7B-25DF-4F0C-9519-4923F08F0708}" dt="2020-07-10T04:48:26.163" v="10"/>
          <ac:spMkLst>
            <pc:docMk/>
            <pc:sldMk cId="3635852913" sldId="1719"/>
            <ac:spMk id="6" creationId="{95C03163-16D1-4C52-9AD1-60A918F7A57D}"/>
          </ac:spMkLst>
        </pc:spChg>
        <pc:spChg chg="add del mod">
          <ac:chgData name="Robert [Chillibreeze]" userId="8fe5ebfe-980d-441d-bbff-8c5265b810b8" providerId="ADAL" clId="{0A564B7B-25DF-4F0C-9519-4923F08F0708}" dt="2020-07-10T04:48:25.853" v="9"/>
          <ac:spMkLst>
            <pc:docMk/>
            <pc:sldMk cId="3635852913" sldId="1719"/>
            <ac:spMk id="7" creationId="{42321870-3B8A-49B5-B58A-603AC7D196A5}"/>
          </ac:spMkLst>
        </pc:spChg>
        <pc:spChg chg="add del mod">
          <ac:chgData name="Robert [Chillibreeze]" userId="8fe5ebfe-980d-441d-bbff-8c5265b810b8" providerId="ADAL" clId="{0A564B7B-25DF-4F0C-9519-4923F08F0708}" dt="2020-07-10T04:48:25.440" v="8"/>
          <ac:spMkLst>
            <pc:docMk/>
            <pc:sldMk cId="3635852913" sldId="1719"/>
            <ac:spMk id="8" creationId="{7694E92C-EAB5-41FA-91A0-55D1CA378384}"/>
          </ac:spMkLst>
        </pc:spChg>
      </pc:sldChg>
      <pc:sldChg chg="addSp delSp modSp mod">
        <pc:chgData name="Robert [Chillibreeze]" userId="8fe5ebfe-980d-441d-bbff-8c5265b810b8" providerId="ADAL" clId="{0A564B7B-25DF-4F0C-9519-4923F08F0708}" dt="2020-07-10T04:54:43.783" v="75" actId="207"/>
        <pc:sldMkLst>
          <pc:docMk/>
          <pc:sldMk cId="2176315051" sldId="1873"/>
        </pc:sldMkLst>
        <pc:spChg chg="mod">
          <ac:chgData name="Robert [Chillibreeze]" userId="8fe5ebfe-980d-441d-bbff-8c5265b810b8" providerId="ADAL" clId="{0A564B7B-25DF-4F0C-9519-4923F08F0708}" dt="2020-07-10T04:50:53.318" v="62"/>
          <ac:spMkLst>
            <pc:docMk/>
            <pc:sldMk cId="2176315051" sldId="1873"/>
            <ac:spMk id="2" creationId="{0A27E612-0557-4697-BDA6-FA91E09ED0E8}"/>
          </ac:spMkLst>
        </pc:spChg>
        <pc:spChg chg="add del mod">
          <ac:chgData name="Robert [Chillibreeze]" userId="8fe5ebfe-980d-441d-bbff-8c5265b810b8" providerId="ADAL" clId="{0A564B7B-25DF-4F0C-9519-4923F08F0708}" dt="2020-07-10T04:50:47.150" v="58"/>
          <ac:spMkLst>
            <pc:docMk/>
            <pc:sldMk cId="2176315051" sldId="1873"/>
            <ac:spMk id="3" creationId="{1B39AF2C-4B12-4FE8-8DBE-7600C894115F}"/>
          </ac:spMkLst>
        </pc:spChg>
        <pc:spChg chg="add del mod">
          <ac:chgData name="Robert [Chillibreeze]" userId="8fe5ebfe-980d-441d-bbff-8c5265b810b8" providerId="ADAL" clId="{0A564B7B-25DF-4F0C-9519-4923F08F0708}" dt="2020-07-10T04:50:47.302" v="59"/>
          <ac:spMkLst>
            <pc:docMk/>
            <pc:sldMk cId="2176315051" sldId="1873"/>
            <ac:spMk id="4" creationId="{18C803CB-7250-4B6F-92E7-0041142553A8}"/>
          </ac:spMkLst>
        </pc:spChg>
        <pc:spChg chg="add del mod">
          <ac:chgData name="Robert [Chillibreeze]" userId="8fe5ebfe-980d-441d-bbff-8c5265b810b8" providerId="ADAL" clId="{0A564B7B-25DF-4F0C-9519-4923F08F0708}" dt="2020-07-10T04:50:47.470" v="60"/>
          <ac:spMkLst>
            <pc:docMk/>
            <pc:sldMk cId="2176315051" sldId="1873"/>
            <ac:spMk id="5" creationId="{5AED9A37-1164-42C8-B88E-21A6D8610A3A}"/>
          </ac:spMkLst>
        </pc:spChg>
        <pc:spChg chg="add del mod">
          <ac:chgData name="Robert [Chillibreeze]" userId="8fe5ebfe-980d-441d-bbff-8c5265b810b8" providerId="ADAL" clId="{0A564B7B-25DF-4F0C-9519-4923F08F0708}" dt="2020-07-10T04:50:53.184" v="61"/>
          <ac:spMkLst>
            <pc:docMk/>
            <pc:sldMk cId="2176315051" sldId="1873"/>
            <ac:spMk id="6" creationId="{22C6F8CD-092B-4D78-82EC-04405DE593B3}"/>
          </ac:spMkLst>
        </pc:spChg>
        <pc:spChg chg="add del mod">
          <ac:chgData name="Robert [Chillibreeze]" userId="8fe5ebfe-980d-441d-bbff-8c5265b810b8" providerId="ADAL" clId="{0A564B7B-25DF-4F0C-9519-4923F08F0708}" dt="2020-07-10T04:50:53.318" v="62"/>
          <ac:spMkLst>
            <pc:docMk/>
            <pc:sldMk cId="2176315051" sldId="1873"/>
            <ac:spMk id="7" creationId="{E65EDBB4-2B44-40F2-95FB-AFA2319AC10C}"/>
          </ac:spMkLst>
        </pc:spChg>
        <pc:spChg chg="mod">
          <ac:chgData name="Robert [Chillibreeze]" userId="8fe5ebfe-980d-441d-bbff-8c5265b810b8" providerId="ADAL" clId="{0A564B7B-25DF-4F0C-9519-4923F08F0708}" dt="2020-07-10T04:54:43.783" v="75" actId="207"/>
          <ac:spMkLst>
            <pc:docMk/>
            <pc:sldMk cId="2176315051" sldId="1873"/>
            <ac:spMk id="13" creationId="{F2BFCC9E-8A9A-42FC-9D52-6EDF58E1A564}"/>
          </ac:spMkLst>
        </pc:spChg>
        <pc:graphicFrameChg chg="modGraphic">
          <ac:chgData name="Robert [Chillibreeze]" userId="8fe5ebfe-980d-441d-bbff-8c5265b810b8" providerId="ADAL" clId="{0A564B7B-25DF-4F0C-9519-4923F08F0708}" dt="2020-07-10T04:52:04.226" v="68" actId="2711"/>
          <ac:graphicFrameMkLst>
            <pc:docMk/>
            <pc:sldMk cId="2176315051" sldId="1873"/>
            <ac:graphicFrameMk id="10" creationId="{D24406BE-7C0C-4B0B-A9AB-6397860C3576}"/>
          </ac:graphicFrameMkLst>
        </pc:graphicFrameChg>
      </pc:sldChg>
      <pc:sldChg chg="addSp delSp modSp mod">
        <pc:chgData name="Robert [Chillibreeze]" userId="8fe5ebfe-980d-441d-bbff-8c5265b810b8" providerId="ADAL" clId="{0A564B7B-25DF-4F0C-9519-4923F08F0708}" dt="2020-07-10T05:04:04.278" v="124"/>
        <pc:sldMkLst>
          <pc:docMk/>
          <pc:sldMk cId="2983777651" sldId="1876"/>
        </pc:sldMkLst>
        <pc:spChg chg="mod">
          <ac:chgData name="Robert [Chillibreeze]" userId="8fe5ebfe-980d-441d-bbff-8c5265b810b8" providerId="ADAL" clId="{0A564B7B-25DF-4F0C-9519-4923F08F0708}" dt="2020-07-10T05:04:04.278" v="124"/>
          <ac:spMkLst>
            <pc:docMk/>
            <pc:sldMk cId="2983777651" sldId="1876"/>
            <ac:spMk id="2" creationId="{30F12775-90BF-49F1-9DAC-8632D1EECD1C}"/>
          </ac:spMkLst>
        </pc:spChg>
        <pc:spChg chg="add del mod">
          <ac:chgData name="Robert [Chillibreeze]" userId="8fe5ebfe-980d-441d-bbff-8c5265b810b8" providerId="ADAL" clId="{0A564B7B-25DF-4F0C-9519-4923F08F0708}" dt="2020-07-10T05:01:41.494" v="84"/>
          <ac:spMkLst>
            <pc:docMk/>
            <pc:sldMk cId="2983777651" sldId="1876"/>
            <ac:spMk id="3" creationId="{01A80A6E-003B-4054-A3A5-84B89D03C8F4}"/>
          </ac:spMkLst>
        </pc:spChg>
        <pc:spChg chg="add del mod">
          <ac:chgData name="Robert [Chillibreeze]" userId="8fe5ebfe-980d-441d-bbff-8c5265b810b8" providerId="ADAL" clId="{0A564B7B-25DF-4F0C-9519-4923F08F0708}" dt="2020-07-10T05:01:41.653" v="85"/>
          <ac:spMkLst>
            <pc:docMk/>
            <pc:sldMk cId="2983777651" sldId="1876"/>
            <ac:spMk id="4" creationId="{157F9F03-C749-4208-BA46-584896284DA2}"/>
          </ac:spMkLst>
        </pc:spChg>
        <pc:spChg chg="add del mod">
          <ac:chgData name="Robert [Chillibreeze]" userId="8fe5ebfe-980d-441d-bbff-8c5265b810b8" providerId="ADAL" clId="{0A564B7B-25DF-4F0C-9519-4923F08F0708}" dt="2020-07-10T05:01:41.782" v="86"/>
          <ac:spMkLst>
            <pc:docMk/>
            <pc:sldMk cId="2983777651" sldId="1876"/>
            <ac:spMk id="5" creationId="{607DF496-2E80-41D6-95E6-2A0BF28E6440}"/>
          </ac:spMkLst>
        </pc:spChg>
        <pc:spChg chg="mod">
          <ac:chgData name="Robert [Chillibreeze]" userId="8fe5ebfe-980d-441d-bbff-8c5265b810b8" providerId="ADAL" clId="{0A564B7B-25DF-4F0C-9519-4923F08F0708}" dt="2020-07-10T05:03:56.351" v="120" actId="207"/>
          <ac:spMkLst>
            <pc:docMk/>
            <pc:sldMk cId="2983777651" sldId="1876"/>
            <ac:spMk id="6" creationId="{35910D00-17B7-4B75-A1A9-9BF27AF66648}"/>
          </ac:spMkLst>
        </pc:spChg>
        <pc:spChg chg="mod">
          <ac:chgData name="Robert [Chillibreeze]" userId="8fe5ebfe-980d-441d-bbff-8c5265b810b8" providerId="ADAL" clId="{0A564B7B-25DF-4F0C-9519-4923F08F0708}" dt="2020-07-10T05:03:13.390" v="112" actId="552"/>
          <ac:spMkLst>
            <pc:docMk/>
            <pc:sldMk cId="2983777651" sldId="1876"/>
            <ac:spMk id="7" creationId="{12DF3BEF-7DC2-4A7A-A550-6A7252C2F99B}"/>
          </ac:spMkLst>
        </pc:spChg>
        <pc:spChg chg="add del mod">
          <ac:chgData name="Robert [Chillibreeze]" userId="8fe5ebfe-980d-441d-bbff-8c5265b810b8" providerId="ADAL" clId="{0A564B7B-25DF-4F0C-9519-4923F08F0708}" dt="2020-07-10T05:01:41.926" v="87"/>
          <ac:spMkLst>
            <pc:docMk/>
            <pc:sldMk cId="2983777651" sldId="1876"/>
            <ac:spMk id="8" creationId="{8A02E1ED-147D-4205-9ACC-EB28EFEE5813}"/>
          </ac:spMkLst>
        </pc:spChg>
        <pc:spChg chg="add del mod">
          <ac:chgData name="Robert [Chillibreeze]" userId="8fe5ebfe-980d-441d-bbff-8c5265b810b8" providerId="ADAL" clId="{0A564B7B-25DF-4F0C-9519-4923F08F0708}" dt="2020-07-10T05:04:03.719" v="121"/>
          <ac:spMkLst>
            <pc:docMk/>
            <pc:sldMk cId="2983777651" sldId="1876"/>
            <ac:spMk id="9" creationId="{55D7EB31-D4E2-4483-A7EB-4428D6C90E61}"/>
          </ac:spMkLst>
        </pc:spChg>
        <pc:spChg chg="add del mod">
          <ac:chgData name="Robert [Chillibreeze]" userId="8fe5ebfe-980d-441d-bbff-8c5265b810b8" providerId="ADAL" clId="{0A564B7B-25DF-4F0C-9519-4923F08F0708}" dt="2020-07-10T05:04:03.846" v="122"/>
          <ac:spMkLst>
            <pc:docMk/>
            <pc:sldMk cId="2983777651" sldId="1876"/>
            <ac:spMk id="10" creationId="{A5C2F8AA-4E59-4EEC-81A2-D24694C3AD08}"/>
          </ac:spMkLst>
        </pc:spChg>
        <pc:spChg chg="add del mod">
          <ac:chgData name="Robert [Chillibreeze]" userId="8fe5ebfe-980d-441d-bbff-8c5265b810b8" providerId="ADAL" clId="{0A564B7B-25DF-4F0C-9519-4923F08F0708}" dt="2020-07-10T05:04:04.127" v="123"/>
          <ac:spMkLst>
            <pc:docMk/>
            <pc:sldMk cId="2983777651" sldId="1876"/>
            <ac:spMk id="11" creationId="{FDEA79A2-3AA6-4F9F-ABFD-6463877BCF93}"/>
          </ac:spMkLst>
        </pc:spChg>
        <pc:spChg chg="add del mod">
          <ac:chgData name="Robert [Chillibreeze]" userId="8fe5ebfe-980d-441d-bbff-8c5265b810b8" providerId="ADAL" clId="{0A564B7B-25DF-4F0C-9519-4923F08F0708}" dt="2020-07-10T05:04:04.278" v="124"/>
          <ac:spMkLst>
            <pc:docMk/>
            <pc:sldMk cId="2983777651" sldId="1876"/>
            <ac:spMk id="12" creationId="{7C22F022-D700-4307-810D-81CA6C031E36}"/>
          </ac:spMkLst>
        </pc:spChg>
      </pc:sldChg>
      <pc:sldChg chg="addSp delSp modSp">
        <pc:chgData name="Robert [Chillibreeze]" userId="8fe5ebfe-980d-441d-bbff-8c5265b810b8" providerId="ADAL" clId="{0A564B7B-25DF-4F0C-9519-4923F08F0708}" dt="2020-07-10T05:04:24.014" v="130"/>
        <pc:sldMkLst>
          <pc:docMk/>
          <pc:sldMk cId="1750585481" sldId="1878"/>
        </pc:sldMkLst>
        <pc:spChg chg="add del mod">
          <ac:chgData name="Robert [Chillibreeze]" userId="8fe5ebfe-980d-441d-bbff-8c5265b810b8" providerId="ADAL" clId="{0A564B7B-25DF-4F0C-9519-4923F08F0708}" dt="2020-07-10T05:04:23.398" v="126"/>
          <ac:spMkLst>
            <pc:docMk/>
            <pc:sldMk cId="1750585481" sldId="1878"/>
            <ac:spMk id="2" creationId="{7E69E621-6260-4F5C-B673-EE49DBAD8416}"/>
          </ac:spMkLst>
        </pc:spChg>
        <pc:spChg chg="add del mod">
          <ac:chgData name="Robert [Chillibreeze]" userId="8fe5ebfe-980d-441d-bbff-8c5265b810b8" providerId="ADAL" clId="{0A564B7B-25DF-4F0C-9519-4923F08F0708}" dt="2020-07-10T05:04:23.543" v="127"/>
          <ac:spMkLst>
            <pc:docMk/>
            <pc:sldMk cId="1750585481" sldId="1878"/>
            <ac:spMk id="3" creationId="{CC1051B5-212B-421E-B1B4-54B8502240B2}"/>
          </ac:spMkLst>
        </pc:spChg>
        <pc:spChg chg="add del mod">
          <ac:chgData name="Robert [Chillibreeze]" userId="8fe5ebfe-980d-441d-bbff-8c5265b810b8" providerId="ADAL" clId="{0A564B7B-25DF-4F0C-9519-4923F08F0708}" dt="2020-07-10T05:04:23.695" v="128"/>
          <ac:spMkLst>
            <pc:docMk/>
            <pc:sldMk cId="1750585481" sldId="1878"/>
            <ac:spMk id="4" creationId="{CACC4A12-6F86-4ED7-8E8C-EC4CE7FFC55E}"/>
          </ac:spMkLst>
        </pc:spChg>
        <pc:spChg chg="add del mod">
          <ac:chgData name="Robert [Chillibreeze]" userId="8fe5ebfe-980d-441d-bbff-8c5265b810b8" providerId="ADAL" clId="{0A564B7B-25DF-4F0C-9519-4923F08F0708}" dt="2020-07-10T05:04:23.854" v="129"/>
          <ac:spMkLst>
            <pc:docMk/>
            <pc:sldMk cId="1750585481" sldId="1878"/>
            <ac:spMk id="5" creationId="{F02C755C-1D76-42A8-B885-EF513609225D}"/>
          </ac:spMkLst>
        </pc:spChg>
        <pc:spChg chg="add del mod">
          <ac:chgData name="Robert [Chillibreeze]" userId="8fe5ebfe-980d-441d-bbff-8c5265b810b8" providerId="ADAL" clId="{0A564B7B-25DF-4F0C-9519-4923F08F0708}" dt="2020-07-10T05:04:24.014" v="130"/>
          <ac:spMkLst>
            <pc:docMk/>
            <pc:sldMk cId="1750585481" sldId="1878"/>
            <ac:spMk id="6" creationId="{AC8A46EF-F23D-4114-83F8-F4436997793C}"/>
          </ac:spMkLst>
        </pc:spChg>
        <pc:spChg chg="mod">
          <ac:chgData name="Robert [Chillibreeze]" userId="8fe5ebfe-980d-441d-bbff-8c5265b810b8" providerId="ADAL" clId="{0A564B7B-25DF-4F0C-9519-4923F08F0708}" dt="2020-07-10T05:04:17.156" v="125" actId="207"/>
          <ac:spMkLst>
            <pc:docMk/>
            <pc:sldMk cId="1750585481" sldId="1878"/>
            <ac:spMk id="9" creationId="{C2B62C3B-5AF9-4106-900F-967346473CE8}"/>
          </ac:spMkLst>
        </pc:spChg>
        <pc:spChg chg="mod">
          <ac:chgData name="Robert [Chillibreeze]" userId="8fe5ebfe-980d-441d-bbff-8c5265b810b8" providerId="ADAL" clId="{0A564B7B-25DF-4F0C-9519-4923F08F0708}" dt="2020-07-10T05:04:17.156" v="125" actId="207"/>
          <ac:spMkLst>
            <pc:docMk/>
            <pc:sldMk cId="1750585481" sldId="1878"/>
            <ac:spMk id="13" creationId="{275E27D0-7E11-4A38-BA9C-5AFC0F0F69D6}"/>
          </ac:spMkLst>
        </pc:spChg>
        <pc:spChg chg="mod">
          <ac:chgData name="Robert [Chillibreeze]" userId="8fe5ebfe-980d-441d-bbff-8c5265b810b8" providerId="ADAL" clId="{0A564B7B-25DF-4F0C-9519-4923F08F0708}" dt="2020-07-10T05:04:24.014" v="130"/>
          <ac:spMkLst>
            <pc:docMk/>
            <pc:sldMk cId="1750585481" sldId="1878"/>
            <ac:spMk id="17" creationId="{00000000-0000-0000-0000-000000000000}"/>
          </ac:spMkLst>
        </pc:spChg>
        <pc:spChg chg="mod">
          <ac:chgData name="Robert [Chillibreeze]" userId="8fe5ebfe-980d-441d-bbff-8c5265b810b8" providerId="ADAL" clId="{0A564B7B-25DF-4F0C-9519-4923F08F0708}" dt="2020-07-10T05:04:17.156" v="125" actId="207"/>
          <ac:spMkLst>
            <pc:docMk/>
            <pc:sldMk cId="1750585481" sldId="1878"/>
            <ac:spMk id="18" creationId="{A01303C0-7154-4CF2-8281-B75BD8D4A89D}"/>
          </ac:spMkLst>
        </pc:spChg>
        <pc:spChg chg="mod">
          <ac:chgData name="Robert [Chillibreeze]" userId="8fe5ebfe-980d-441d-bbff-8c5265b810b8" providerId="ADAL" clId="{0A564B7B-25DF-4F0C-9519-4923F08F0708}" dt="2020-07-10T05:04:17.156" v="125" actId="207"/>
          <ac:spMkLst>
            <pc:docMk/>
            <pc:sldMk cId="1750585481" sldId="1878"/>
            <ac:spMk id="22" creationId="{913074D5-03E8-4C65-9B86-E381D21174BE}"/>
          </ac:spMkLst>
        </pc:spChg>
        <pc:spChg chg="mod">
          <ac:chgData name="Robert [Chillibreeze]" userId="8fe5ebfe-980d-441d-bbff-8c5265b810b8" providerId="ADAL" clId="{0A564B7B-25DF-4F0C-9519-4923F08F0708}" dt="2020-07-10T05:04:17.156" v="125" actId="207"/>
          <ac:spMkLst>
            <pc:docMk/>
            <pc:sldMk cId="1750585481" sldId="1878"/>
            <ac:spMk id="26" creationId="{96FB95B6-5114-4A21-9347-22661BA0A266}"/>
          </ac:spMkLst>
        </pc:spChg>
        <pc:spChg chg="mod">
          <ac:chgData name="Robert [Chillibreeze]" userId="8fe5ebfe-980d-441d-bbff-8c5265b810b8" providerId="ADAL" clId="{0A564B7B-25DF-4F0C-9519-4923F08F0708}" dt="2020-07-10T05:04:17.156" v="125" actId="207"/>
          <ac:spMkLst>
            <pc:docMk/>
            <pc:sldMk cId="1750585481" sldId="1878"/>
            <ac:spMk id="30" creationId="{827C57A6-2F7E-442F-AEF0-B0C9ED79439F}"/>
          </ac:spMkLst>
        </pc:spChg>
        <pc:spChg chg="mod">
          <ac:chgData name="Robert [Chillibreeze]" userId="8fe5ebfe-980d-441d-bbff-8c5265b810b8" providerId="ADAL" clId="{0A564B7B-25DF-4F0C-9519-4923F08F0708}" dt="2020-07-10T05:04:17.156" v="125" actId="207"/>
          <ac:spMkLst>
            <pc:docMk/>
            <pc:sldMk cId="1750585481" sldId="1878"/>
            <ac:spMk id="34" creationId="{01BEEEF1-B0BB-4845-8BB4-70B637F3E0EF}"/>
          </ac:spMkLst>
        </pc:spChg>
        <pc:spChg chg="mod">
          <ac:chgData name="Robert [Chillibreeze]" userId="8fe5ebfe-980d-441d-bbff-8c5265b810b8" providerId="ADAL" clId="{0A564B7B-25DF-4F0C-9519-4923F08F0708}" dt="2020-07-10T05:04:17.156" v="125" actId="207"/>
          <ac:spMkLst>
            <pc:docMk/>
            <pc:sldMk cId="1750585481" sldId="1878"/>
            <ac:spMk id="54" creationId="{1145B3C9-4605-4AFE-9010-7C51946E29A9}"/>
          </ac:spMkLst>
        </pc:spChg>
      </pc:sldChg>
    </pc:docChg>
  </pc:docChgLst>
  <pc:docChgLst>
    <pc:chgData name="Bantei Sangma [Chillibreeze]" userId="e7070ce9-26a8-4d3a-99f4-f2ac4567d4da" providerId="ADAL" clId="{6AB8A73D-CDEF-4FB5-9165-71445BE59506}"/>
    <pc:docChg chg="undo redo custSel addSld delSld modSld sldOrd modMainMaster modSection">
      <pc:chgData name="Bantei Sangma [Chillibreeze]" userId="e7070ce9-26a8-4d3a-99f4-f2ac4567d4da" providerId="ADAL" clId="{6AB8A73D-CDEF-4FB5-9165-71445BE59506}" dt="2020-07-10T17:18:07.325" v="796" actId="20577"/>
      <pc:docMkLst>
        <pc:docMk/>
      </pc:docMkLst>
      <pc:sldChg chg="ord">
        <pc:chgData name="Bantei Sangma [Chillibreeze]" userId="e7070ce9-26a8-4d3a-99f4-f2ac4567d4da" providerId="ADAL" clId="{6AB8A73D-CDEF-4FB5-9165-71445BE59506}" dt="2020-07-10T11:49:04.798" v="6" actId="20578"/>
        <pc:sldMkLst>
          <pc:docMk/>
          <pc:sldMk cId="1548455647" sldId="1494"/>
        </pc:sldMkLst>
      </pc:sldChg>
      <pc:sldChg chg="modSp mod">
        <pc:chgData name="Bantei Sangma [Chillibreeze]" userId="e7070ce9-26a8-4d3a-99f4-f2ac4567d4da" providerId="ADAL" clId="{6AB8A73D-CDEF-4FB5-9165-71445BE59506}" dt="2020-07-10T17:10:01.196" v="732" actId="313"/>
        <pc:sldMkLst>
          <pc:docMk/>
          <pc:sldMk cId="1605244184" sldId="1495"/>
        </pc:sldMkLst>
        <pc:graphicFrameChg chg="modGraphic">
          <ac:chgData name="Bantei Sangma [Chillibreeze]" userId="e7070ce9-26a8-4d3a-99f4-f2ac4567d4da" providerId="ADAL" clId="{6AB8A73D-CDEF-4FB5-9165-71445BE59506}" dt="2020-07-10T17:10:01.196" v="732" actId="313"/>
          <ac:graphicFrameMkLst>
            <pc:docMk/>
            <pc:sldMk cId="1605244184" sldId="1495"/>
            <ac:graphicFrameMk id="5" creationId="{6522225A-E34C-4DAE-8DEB-8A8D135B0F34}"/>
          </ac:graphicFrameMkLst>
        </pc:graphicFrameChg>
      </pc:sldChg>
      <pc:sldChg chg="modSp mod">
        <pc:chgData name="Bantei Sangma [Chillibreeze]" userId="e7070ce9-26a8-4d3a-99f4-f2ac4567d4da" providerId="ADAL" clId="{6AB8A73D-CDEF-4FB5-9165-71445BE59506}" dt="2020-07-10T17:10:21.862" v="733" actId="313"/>
        <pc:sldMkLst>
          <pc:docMk/>
          <pc:sldMk cId="3678033795" sldId="1501"/>
        </pc:sldMkLst>
        <pc:spChg chg="mod">
          <ac:chgData name="Bantei Sangma [Chillibreeze]" userId="e7070ce9-26a8-4d3a-99f4-f2ac4567d4da" providerId="ADAL" clId="{6AB8A73D-CDEF-4FB5-9165-71445BE59506}" dt="2020-07-10T17:10:21.862" v="733" actId="313"/>
          <ac:spMkLst>
            <pc:docMk/>
            <pc:sldMk cId="3678033795" sldId="1501"/>
            <ac:spMk id="2" creationId="{544A83E9-9D3F-4D27-92C5-3271240ED3D2}"/>
          </ac:spMkLst>
        </pc:spChg>
      </pc:sldChg>
      <pc:sldChg chg="modSp mod">
        <pc:chgData name="Bantei Sangma [Chillibreeze]" userId="e7070ce9-26a8-4d3a-99f4-f2ac4567d4da" providerId="ADAL" clId="{6AB8A73D-CDEF-4FB5-9165-71445BE59506}" dt="2020-07-10T17:16:03.716" v="780" actId="20577"/>
        <pc:sldMkLst>
          <pc:docMk/>
          <pc:sldMk cId="1380867704" sldId="1508"/>
        </pc:sldMkLst>
        <pc:spChg chg="mod">
          <ac:chgData name="Bantei Sangma [Chillibreeze]" userId="e7070ce9-26a8-4d3a-99f4-f2ac4567d4da" providerId="ADAL" clId="{6AB8A73D-CDEF-4FB5-9165-71445BE59506}" dt="2020-07-10T17:16:03.716" v="780" actId="20577"/>
          <ac:spMkLst>
            <pc:docMk/>
            <pc:sldMk cId="1380867704" sldId="1508"/>
            <ac:spMk id="2" creationId="{D11DCE45-71BA-4C46-ADE4-741F70B4ED2A}"/>
          </ac:spMkLst>
        </pc:spChg>
        <pc:spChg chg="mod">
          <ac:chgData name="Bantei Sangma [Chillibreeze]" userId="e7070ce9-26a8-4d3a-99f4-f2ac4567d4da" providerId="ADAL" clId="{6AB8A73D-CDEF-4FB5-9165-71445BE59506}" dt="2020-07-10T17:12:17.963" v="748" actId="1076"/>
          <ac:spMkLst>
            <pc:docMk/>
            <pc:sldMk cId="1380867704" sldId="1508"/>
            <ac:spMk id="23" creationId="{60156EE5-B968-44E8-99F8-207B252A849F}"/>
          </ac:spMkLst>
        </pc:spChg>
      </pc:sldChg>
      <pc:sldChg chg="modSp mod">
        <pc:chgData name="Bantei Sangma [Chillibreeze]" userId="e7070ce9-26a8-4d3a-99f4-f2ac4567d4da" providerId="ADAL" clId="{6AB8A73D-CDEF-4FB5-9165-71445BE59506}" dt="2020-07-10T17:15:58.826" v="778" actId="20577"/>
        <pc:sldMkLst>
          <pc:docMk/>
          <pc:sldMk cId="392330573" sldId="1509"/>
        </pc:sldMkLst>
        <pc:spChg chg="mod">
          <ac:chgData name="Bantei Sangma [Chillibreeze]" userId="e7070ce9-26a8-4d3a-99f4-f2ac4567d4da" providerId="ADAL" clId="{6AB8A73D-CDEF-4FB5-9165-71445BE59506}" dt="2020-07-10T17:15:58.826" v="778" actId="20577"/>
          <ac:spMkLst>
            <pc:docMk/>
            <pc:sldMk cId="392330573" sldId="1509"/>
            <ac:spMk id="2" creationId="{8EB24F5B-38B6-4A50-B0C2-9DBFF3DA0214}"/>
          </ac:spMkLst>
        </pc:spChg>
        <pc:spChg chg="mod">
          <ac:chgData name="Bantei Sangma [Chillibreeze]" userId="e7070ce9-26a8-4d3a-99f4-f2ac4567d4da" providerId="ADAL" clId="{6AB8A73D-CDEF-4FB5-9165-71445BE59506}" dt="2020-07-10T17:15:08.261" v="771" actId="14100"/>
          <ac:spMkLst>
            <pc:docMk/>
            <pc:sldMk cId="392330573" sldId="1509"/>
            <ac:spMk id="20" creationId="{5C491DC2-3220-434B-AC10-3B41F184C922}"/>
          </ac:spMkLst>
        </pc:spChg>
        <pc:spChg chg="mod">
          <ac:chgData name="Bantei Sangma [Chillibreeze]" userId="e7070ce9-26a8-4d3a-99f4-f2ac4567d4da" providerId="ADAL" clId="{6AB8A73D-CDEF-4FB5-9165-71445BE59506}" dt="2020-07-10T17:14:48.537" v="763" actId="20577"/>
          <ac:spMkLst>
            <pc:docMk/>
            <pc:sldMk cId="392330573" sldId="1509"/>
            <ac:spMk id="21" creationId="{B450E70E-ED61-46D9-ACC0-942C90402818}"/>
          </ac:spMkLst>
        </pc:spChg>
        <pc:spChg chg="mod">
          <ac:chgData name="Bantei Sangma [Chillibreeze]" userId="e7070ce9-26a8-4d3a-99f4-f2ac4567d4da" providerId="ADAL" clId="{6AB8A73D-CDEF-4FB5-9165-71445BE59506}" dt="2020-07-10T17:13:46.877" v="758" actId="14100"/>
          <ac:spMkLst>
            <pc:docMk/>
            <pc:sldMk cId="392330573" sldId="1509"/>
            <ac:spMk id="23" creationId="{4DC59243-89B0-493B-B148-C6FF1F473294}"/>
          </ac:spMkLst>
        </pc:spChg>
        <pc:spChg chg="mod">
          <ac:chgData name="Bantei Sangma [Chillibreeze]" userId="e7070ce9-26a8-4d3a-99f4-f2ac4567d4da" providerId="ADAL" clId="{6AB8A73D-CDEF-4FB5-9165-71445BE59506}" dt="2020-07-10T17:12:40.404" v="750" actId="1076"/>
          <ac:spMkLst>
            <pc:docMk/>
            <pc:sldMk cId="392330573" sldId="1509"/>
            <ac:spMk id="31" creationId="{94CD3131-AF3D-4ADE-89AB-5F29E2A75EDA}"/>
          </ac:spMkLst>
        </pc:spChg>
      </pc:sldChg>
      <pc:sldChg chg="addSp modSp mod">
        <pc:chgData name="Bantei Sangma [Chillibreeze]" userId="e7070ce9-26a8-4d3a-99f4-f2ac4567d4da" providerId="ADAL" clId="{6AB8A73D-CDEF-4FB5-9165-71445BE59506}" dt="2020-07-10T17:17:07.111" v="789" actId="465"/>
        <pc:sldMkLst>
          <pc:docMk/>
          <pc:sldMk cId="1301972457" sldId="1511"/>
        </pc:sldMkLst>
        <pc:spChg chg="mod">
          <ac:chgData name="Bantei Sangma [Chillibreeze]" userId="e7070ce9-26a8-4d3a-99f4-f2ac4567d4da" providerId="ADAL" clId="{6AB8A73D-CDEF-4FB5-9165-71445BE59506}" dt="2020-07-10T17:16:20.838" v="784" actId="20577"/>
          <ac:spMkLst>
            <pc:docMk/>
            <pc:sldMk cId="1301972457" sldId="1511"/>
            <ac:spMk id="2" creationId="{D1A1B013-1649-4390-A1B0-0F9B7BCD22B3}"/>
          </ac:spMkLst>
        </pc:spChg>
        <pc:grpChg chg="add mod">
          <ac:chgData name="Bantei Sangma [Chillibreeze]" userId="e7070ce9-26a8-4d3a-99f4-f2ac4567d4da" providerId="ADAL" clId="{6AB8A73D-CDEF-4FB5-9165-71445BE59506}" dt="2020-07-10T17:16:49.492" v="785" actId="164"/>
          <ac:grpSpMkLst>
            <pc:docMk/>
            <pc:sldMk cId="1301972457" sldId="1511"/>
            <ac:grpSpMk id="3" creationId="{E68BAD13-9599-42E4-8B00-8A7DA8B536B2}"/>
          </ac:grpSpMkLst>
        </pc:grpChg>
        <pc:grpChg chg="add mod">
          <ac:chgData name="Bantei Sangma [Chillibreeze]" userId="e7070ce9-26a8-4d3a-99f4-f2ac4567d4da" providerId="ADAL" clId="{6AB8A73D-CDEF-4FB5-9165-71445BE59506}" dt="2020-07-10T17:16:53.105" v="786" actId="164"/>
          <ac:grpSpMkLst>
            <pc:docMk/>
            <pc:sldMk cId="1301972457" sldId="1511"/>
            <ac:grpSpMk id="13" creationId="{D0884BA2-989D-4B0A-809A-68495319FD18}"/>
          </ac:grpSpMkLst>
        </pc:grpChg>
        <pc:grpChg chg="add mod">
          <ac:chgData name="Bantei Sangma [Chillibreeze]" userId="e7070ce9-26a8-4d3a-99f4-f2ac4567d4da" providerId="ADAL" clId="{6AB8A73D-CDEF-4FB5-9165-71445BE59506}" dt="2020-07-10T17:16:55.941" v="787" actId="164"/>
          <ac:grpSpMkLst>
            <pc:docMk/>
            <pc:sldMk cId="1301972457" sldId="1511"/>
            <ac:grpSpMk id="14" creationId="{2AA4756F-5B35-4289-B62F-DB68E309B9B5}"/>
          </ac:grpSpMkLst>
        </pc:grpChg>
        <pc:grpChg chg="add mod">
          <ac:chgData name="Bantei Sangma [Chillibreeze]" userId="e7070ce9-26a8-4d3a-99f4-f2ac4567d4da" providerId="ADAL" clId="{6AB8A73D-CDEF-4FB5-9165-71445BE59506}" dt="2020-07-10T17:16:58.228" v="788" actId="164"/>
          <ac:grpSpMkLst>
            <pc:docMk/>
            <pc:sldMk cId="1301972457" sldId="1511"/>
            <ac:grpSpMk id="15" creationId="{CC27E04D-C697-48F2-9BA8-683128E4F211}"/>
          </ac:grpSpMkLst>
        </pc:grpChg>
        <pc:picChg chg="mod">
          <ac:chgData name="Bantei Sangma [Chillibreeze]" userId="e7070ce9-26a8-4d3a-99f4-f2ac4567d4da" providerId="ADAL" clId="{6AB8A73D-CDEF-4FB5-9165-71445BE59506}" dt="2020-07-10T17:16:55.941" v="787" actId="164"/>
          <ac:picMkLst>
            <pc:docMk/>
            <pc:sldMk cId="1301972457" sldId="1511"/>
            <ac:picMk id="4" creationId="{534F6136-0702-4CFB-AABA-68B66D5DA0F6}"/>
          </ac:picMkLst>
        </pc:picChg>
        <pc:picChg chg="mod">
          <ac:chgData name="Bantei Sangma [Chillibreeze]" userId="e7070ce9-26a8-4d3a-99f4-f2ac4567d4da" providerId="ADAL" clId="{6AB8A73D-CDEF-4FB5-9165-71445BE59506}" dt="2020-07-10T17:16:53.105" v="786" actId="164"/>
          <ac:picMkLst>
            <pc:docMk/>
            <pc:sldMk cId="1301972457" sldId="1511"/>
            <ac:picMk id="6" creationId="{B11F4743-C48D-4BCD-A46D-5D8F33CEC0D3}"/>
          </ac:picMkLst>
        </pc:picChg>
        <pc:picChg chg="mod">
          <ac:chgData name="Bantei Sangma [Chillibreeze]" userId="e7070ce9-26a8-4d3a-99f4-f2ac4567d4da" providerId="ADAL" clId="{6AB8A73D-CDEF-4FB5-9165-71445BE59506}" dt="2020-07-10T17:16:49.492" v="785" actId="164"/>
          <ac:picMkLst>
            <pc:docMk/>
            <pc:sldMk cId="1301972457" sldId="1511"/>
            <ac:picMk id="9" creationId="{4C18C018-D015-493A-A261-3E277AC1CDB1}"/>
          </ac:picMkLst>
        </pc:picChg>
        <pc:picChg chg="mod">
          <ac:chgData name="Bantei Sangma [Chillibreeze]" userId="e7070ce9-26a8-4d3a-99f4-f2ac4567d4da" providerId="ADAL" clId="{6AB8A73D-CDEF-4FB5-9165-71445BE59506}" dt="2020-07-10T17:16:58.228" v="788" actId="164"/>
          <ac:picMkLst>
            <pc:docMk/>
            <pc:sldMk cId="1301972457" sldId="1511"/>
            <ac:picMk id="11" creationId="{D962F733-5C26-447D-B2C0-10DE97EDB627}"/>
          </ac:picMkLst>
        </pc:picChg>
        <pc:picChg chg="mod">
          <ac:chgData name="Bantei Sangma [Chillibreeze]" userId="e7070ce9-26a8-4d3a-99f4-f2ac4567d4da" providerId="ADAL" clId="{6AB8A73D-CDEF-4FB5-9165-71445BE59506}" dt="2020-07-10T17:16:55.941" v="787" actId="164"/>
          <ac:picMkLst>
            <pc:docMk/>
            <pc:sldMk cId="1301972457" sldId="1511"/>
            <ac:picMk id="22" creationId="{861F5803-18E9-4CD4-B57A-D01934D17FF9}"/>
          </ac:picMkLst>
        </pc:picChg>
        <pc:picChg chg="mod">
          <ac:chgData name="Bantei Sangma [Chillibreeze]" userId="e7070ce9-26a8-4d3a-99f4-f2ac4567d4da" providerId="ADAL" clId="{6AB8A73D-CDEF-4FB5-9165-71445BE59506}" dt="2020-07-10T17:16:53.105" v="786" actId="164"/>
          <ac:picMkLst>
            <pc:docMk/>
            <pc:sldMk cId="1301972457" sldId="1511"/>
            <ac:picMk id="23" creationId="{931C1531-FCAD-430B-B2D5-ADC13F4C1E00}"/>
          </ac:picMkLst>
        </pc:picChg>
        <pc:picChg chg="mod">
          <ac:chgData name="Bantei Sangma [Chillibreeze]" userId="e7070ce9-26a8-4d3a-99f4-f2ac4567d4da" providerId="ADAL" clId="{6AB8A73D-CDEF-4FB5-9165-71445BE59506}" dt="2020-07-10T17:16:58.228" v="788" actId="164"/>
          <ac:picMkLst>
            <pc:docMk/>
            <pc:sldMk cId="1301972457" sldId="1511"/>
            <ac:picMk id="25" creationId="{F4802FDF-7277-4F5B-ADBD-4BB8E029D7BD}"/>
          </ac:picMkLst>
        </pc:picChg>
        <pc:picChg chg="mod">
          <ac:chgData name="Bantei Sangma [Chillibreeze]" userId="e7070ce9-26a8-4d3a-99f4-f2ac4567d4da" providerId="ADAL" clId="{6AB8A73D-CDEF-4FB5-9165-71445BE59506}" dt="2020-07-10T17:16:49.492" v="785" actId="164"/>
          <ac:picMkLst>
            <pc:docMk/>
            <pc:sldMk cId="1301972457" sldId="1511"/>
            <ac:picMk id="26" creationId="{3D1B43A8-86D1-48DD-A911-EC29AB1F9948}"/>
          </ac:picMkLst>
        </pc:picChg>
        <pc:cxnChg chg="mod">
          <ac:chgData name="Bantei Sangma [Chillibreeze]" userId="e7070ce9-26a8-4d3a-99f4-f2ac4567d4da" providerId="ADAL" clId="{6AB8A73D-CDEF-4FB5-9165-71445BE59506}" dt="2020-07-10T17:17:07.111" v="789" actId="465"/>
          <ac:cxnSpMkLst>
            <pc:docMk/>
            <pc:sldMk cId="1301972457" sldId="1511"/>
            <ac:cxnSpMk id="18" creationId="{4C6D91F7-F413-4A0A-870D-3AA06F449826}"/>
          </ac:cxnSpMkLst>
        </pc:cxnChg>
      </pc:sldChg>
      <pc:sldChg chg="modSp mod">
        <pc:chgData name="Bantei Sangma [Chillibreeze]" userId="e7070ce9-26a8-4d3a-99f4-f2ac4567d4da" providerId="ADAL" clId="{6AB8A73D-CDEF-4FB5-9165-71445BE59506}" dt="2020-07-10T17:15:48.184" v="776" actId="20577"/>
        <pc:sldMkLst>
          <pc:docMk/>
          <pc:sldMk cId="160164597" sldId="1512"/>
        </pc:sldMkLst>
        <pc:spChg chg="mod">
          <ac:chgData name="Bantei Sangma [Chillibreeze]" userId="e7070ce9-26a8-4d3a-99f4-f2ac4567d4da" providerId="ADAL" clId="{6AB8A73D-CDEF-4FB5-9165-71445BE59506}" dt="2020-07-10T17:15:48.184" v="776" actId="20577"/>
          <ac:spMkLst>
            <pc:docMk/>
            <pc:sldMk cId="160164597" sldId="1512"/>
            <ac:spMk id="2" creationId="{128E00F7-426C-4FF1-A295-6EEA3032783F}"/>
          </ac:spMkLst>
        </pc:spChg>
        <pc:spChg chg="mod">
          <ac:chgData name="Bantei Sangma [Chillibreeze]" userId="e7070ce9-26a8-4d3a-99f4-f2ac4567d4da" providerId="ADAL" clId="{6AB8A73D-CDEF-4FB5-9165-71445BE59506}" dt="2020-07-10T17:15:44.302" v="774" actId="242"/>
          <ac:spMkLst>
            <pc:docMk/>
            <pc:sldMk cId="160164597" sldId="1512"/>
            <ac:spMk id="14" creationId="{97BB312B-968E-4483-9CBF-AAA40E366DB0}"/>
          </ac:spMkLst>
        </pc:spChg>
        <pc:spChg chg="mod">
          <ac:chgData name="Bantei Sangma [Chillibreeze]" userId="e7070ce9-26a8-4d3a-99f4-f2ac4567d4da" providerId="ADAL" clId="{6AB8A73D-CDEF-4FB5-9165-71445BE59506}" dt="2020-07-10T17:15:44.302" v="774" actId="242"/>
          <ac:spMkLst>
            <pc:docMk/>
            <pc:sldMk cId="160164597" sldId="1512"/>
            <ac:spMk id="15" creationId="{951084C3-F9EF-4285-84A5-AF51C332C8F7}"/>
          </ac:spMkLst>
        </pc:spChg>
        <pc:spChg chg="mod">
          <ac:chgData name="Bantei Sangma [Chillibreeze]" userId="e7070ce9-26a8-4d3a-99f4-f2ac4567d4da" providerId="ADAL" clId="{6AB8A73D-CDEF-4FB5-9165-71445BE59506}" dt="2020-07-10T17:13:53.756" v="759" actId="1037"/>
          <ac:spMkLst>
            <pc:docMk/>
            <pc:sldMk cId="160164597" sldId="1512"/>
            <ac:spMk id="16" creationId="{9D3FC70F-ED14-4C31-AFA9-BB0CA44C37BC}"/>
          </ac:spMkLst>
        </pc:spChg>
        <pc:cxnChg chg="mod">
          <ac:chgData name="Bantei Sangma [Chillibreeze]" userId="e7070ce9-26a8-4d3a-99f4-f2ac4567d4da" providerId="ADAL" clId="{6AB8A73D-CDEF-4FB5-9165-71445BE59506}" dt="2020-07-10T14:47:49.349" v="628" actId="14100"/>
          <ac:cxnSpMkLst>
            <pc:docMk/>
            <pc:sldMk cId="160164597" sldId="1512"/>
            <ac:cxnSpMk id="18" creationId="{4DB5874D-6713-4983-A102-40D5D2BA2D2A}"/>
          </ac:cxnSpMkLst>
        </pc:cxnChg>
        <pc:cxnChg chg="mod">
          <ac:chgData name="Bantei Sangma [Chillibreeze]" userId="e7070ce9-26a8-4d3a-99f4-f2ac4567d4da" providerId="ADAL" clId="{6AB8A73D-CDEF-4FB5-9165-71445BE59506}" dt="2020-07-10T14:47:31.539" v="627" actId="14100"/>
          <ac:cxnSpMkLst>
            <pc:docMk/>
            <pc:sldMk cId="160164597" sldId="1512"/>
            <ac:cxnSpMk id="19" creationId="{3A6ED00F-8042-43A6-8BC6-39FFED520415}"/>
          </ac:cxnSpMkLst>
        </pc:cxnChg>
      </pc:sldChg>
      <pc:sldChg chg="modSp mod">
        <pc:chgData name="Bantei Sangma [Chillibreeze]" userId="e7070ce9-26a8-4d3a-99f4-f2ac4567d4da" providerId="ADAL" clId="{6AB8A73D-CDEF-4FB5-9165-71445BE59506}" dt="2020-07-10T17:18:07.325" v="796" actId="20577"/>
        <pc:sldMkLst>
          <pc:docMk/>
          <pc:sldMk cId="316322398" sldId="1870"/>
        </pc:sldMkLst>
        <pc:spChg chg="mod">
          <ac:chgData name="Bantei Sangma [Chillibreeze]" userId="e7070ce9-26a8-4d3a-99f4-f2ac4567d4da" providerId="ADAL" clId="{6AB8A73D-CDEF-4FB5-9165-71445BE59506}" dt="2020-07-10T17:18:07.325" v="796" actId="20577"/>
          <ac:spMkLst>
            <pc:docMk/>
            <pc:sldMk cId="316322398" sldId="1870"/>
            <ac:spMk id="12" creationId="{D5409F01-1B08-414F-9928-31BE4B3E29DE}"/>
          </ac:spMkLst>
        </pc:spChg>
      </pc:sldChg>
      <pc:sldChg chg="addSp delSp modSp mod">
        <pc:chgData name="Bantei Sangma [Chillibreeze]" userId="e7070ce9-26a8-4d3a-99f4-f2ac4567d4da" providerId="ADAL" clId="{6AB8A73D-CDEF-4FB5-9165-71445BE59506}" dt="2020-07-10T17:17:41.493" v="795" actId="20577"/>
        <pc:sldMkLst>
          <pc:docMk/>
          <pc:sldMk cId="3665884044" sldId="1871"/>
        </pc:sldMkLst>
        <pc:spChg chg="mod">
          <ac:chgData name="Bantei Sangma [Chillibreeze]" userId="e7070ce9-26a8-4d3a-99f4-f2ac4567d4da" providerId="ADAL" clId="{6AB8A73D-CDEF-4FB5-9165-71445BE59506}" dt="2020-07-10T17:17:41.493" v="795" actId="20577"/>
          <ac:spMkLst>
            <pc:docMk/>
            <pc:sldMk cId="3665884044" sldId="1871"/>
            <ac:spMk id="2" creationId="{5F359BF1-DFBD-478C-ACA3-333D99FCFEDF}"/>
          </ac:spMkLst>
        </pc:spChg>
        <pc:spChg chg="mod topLvl">
          <ac:chgData name="Bantei Sangma [Chillibreeze]" userId="e7070ce9-26a8-4d3a-99f4-f2ac4567d4da" providerId="ADAL" clId="{6AB8A73D-CDEF-4FB5-9165-71445BE59506}" dt="2020-07-10T11:55:45.672" v="69" actId="165"/>
          <ac:spMkLst>
            <pc:docMk/>
            <pc:sldMk cId="3665884044" sldId="1871"/>
            <ac:spMk id="35" creationId="{47CA7872-3E02-42E1-BB4A-BAA233B4E4A2}"/>
          </ac:spMkLst>
        </pc:spChg>
        <pc:spChg chg="mod topLvl">
          <ac:chgData name="Bantei Sangma [Chillibreeze]" userId="e7070ce9-26a8-4d3a-99f4-f2ac4567d4da" providerId="ADAL" clId="{6AB8A73D-CDEF-4FB5-9165-71445BE59506}" dt="2020-07-10T11:55:45.672" v="69" actId="165"/>
          <ac:spMkLst>
            <pc:docMk/>
            <pc:sldMk cId="3665884044" sldId="1871"/>
            <ac:spMk id="40" creationId="{33D85280-AB98-4966-B839-92895C2F0F1A}"/>
          </ac:spMkLst>
        </pc:spChg>
        <pc:spChg chg="mod topLvl">
          <ac:chgData name="Bantei Sangma [Chillibreeze]" userId="e7070ce9-26a8-4d3a-99f4-f2ac4567d4da" providerId="ADAL" clId="{6AB8A73D-CDEF-4FB5-9165-71445BE59506}" dt="2020-07-10T11:55:45.672" v="69" actId="165"/>
          <ac:spMkLst>
            <pc:docMk/>
            <pc:sldMk cId="3665884044" sldId="1871"/>
            <ac:spMk id="42" creationId="{6F5B4E5A-3D02-4D97-B0C5-F934A276D27F}"/>
          </ac:spMkLst>
        </pc:spChg>
        <pc:spChg chg="mod topLvl">
          <ac:chgData name="Bantei Sangma [Chillibreeze]" userId="e7070ce9-26a8-4d3a-99f4-f2ac4567d4da" providerId="ADAL" clId="{6AB8A73D-CDEF-4FB5-9165-71445BE59506}" dt="2020-07-10T11:55:45.672" v="69" actId="165"/>
          <ac:spMkLst>
            <pc:docMk/>
            <pc:sldMk cId="3665884044" sldId="1871"/>
            <ac:spMk id="50" creationId="{24701312-AC51-4989-BA55-330ACCF4A5B8}"/>
          </ac:spMkLst>
        </pc:spChg>
        <pc:spChg chg="mod topLvl">
          <ac:chgData name="Bantei Sangma [Chillibreeze]" userId="e7070ce9-26a8-4d3a-99f4-f2ac4567d4da" providerId="ADAL" clId="{6AB8A73D-CDEF-4FB5-9165-71445BE59506}" dt="2020-07-10T11:56:43.905" v="73" actId="165"/>
          <ac:spMkLst>
            <pc:docMk/>
            <pc:sldMk cId="3665884044" sldId="1871"/>
            <ac:spMk id="55" creationId="{81F9B736-E370-4F54-830D-6508AD80BC2C}"/>
          </ac:spMkLst>
        </pc:spChg>
        <pc:spChg chg="mod topLvl">
          <ac:chgData name="Bantei Sangma [Chillibreeze]" userId="e7070ce9-26a8-4d3a-99f4-f2ac4567d4da" providerId="ADAL" clId="{6AB8A73D-CDEF-4FB5-9165-71445BE59506}" dt="2020-07-10T11:55:45.672" v="69" actId="165"/>
          <ac:spMkLst>
            <pc:docMk/>
            <pc:sldMk cId="3665884044" sldId="1871"/>
            <ac:spMk id="60" creationId="{C0C31B35-B60C-43DB-8AC6-B5BFC7E9FE7E}"/>
          </ac:spMkLst>
        </pc:spChg>
        <pc:spChg chg="mod topLvl">
          <ac:chgData name="Bantei Sangma [Chillibreeze]" userId="e7070ce9-26a8-4d3a-99f4-f2ac4567d4da" providerId="ADAL" clId="{6AB8A73D-CDEF-4FB5-9165-71445BE59506}" dt="2020-07-10T11:55:45.672" v="69" actId="165"/>
          <ac:spMkLst>
            <pc:docMk/>
            <pc:sldMk cId="3665884044" sldId="1871"/>
            <ac:spMk id="99" creationId="{7906BC30-F4C1-4B43-9982-B02F31ED5CD2}"/>
          </ac:spMkLst>
        </pc:spChg>
        <pc:grpChg chg="add mod">
          <ac:chgData name="Bantei Sangma [Chillibreeze]" userId="e7070ce9-26a8-4d3a-99f4-f2ac4567d4da" providerId="ADAL" clId="{6AB8A73D-CDEF-4FB5-9165-71445BE59506}" dt="2020-07-10T11:53:25.775" v="28" actId="164"/>
          <ac:grpSpMkLst>
            <pc:docMk/>
            <pc:sldMk cId="3665884044" sldId="1871"/>
            <ac:grpSpMk id="3" creationId="{2F55B3CF-32BA-4E71-B7FE-2A76C0CB4F71}"/>
          </ac:grpSpMkLst>
        </pc:grpChg>
        <pc:grpChg chg="add mod">
          <ac:chgData name="Bantei Sangma [Chillibreeze]" userId="e7070ce9-26a8-4d3a-99f4-f2ac4567d4da" providerId="ADAL" clId="{6AB8A73D-CDEF-4FB5-9165-71445BE59506}" dt="2020-07-10T11:53:25.533" v="27" actId="164"/>
          <ac:grpSpMkLst>
            <pc:docMk/>
            <pc:sldMk cId="3665884044" sldId="1871"/>
            <ac:grpSpMk id="4" creationId="{89C8B4CB-0A01-4240-95F4-BFD6BBDD3265}"/>
          </ac:grpSpMkLst>
        </pc:grpChg>
        <pc:grpChg chg="add mod">
          <ac:chgData name="Bantei Sangma [Chillibreeze]" userId="e7070ce9-26a8-4d3a-99f4-f2ac4567d4da" providerId="ADAL" clId="{6AB8A73D-CDEF-4FB5-9165-71445BE59506}" dt="2020-07-10T11:53:25.263" v="26" actId="164"/>
          <ac:grpSpMkLst>
            <pc:docMk/>
            <pc:sldMk cId="3665884044" sldId="1871"/>
            <ac:grpSpMk id="5" creationId="{B79C95A4-DBC4-4C46-B722-0BDF58BC1C5B}"/>
          </ac:grpSpMkLst>
        </pc:grpChg>
        <pc:grpChg chg="add mod">
          <ac:chgData name="Bantei Sangma [Chillibreeze]" userId="e7070ce9-26a8-4d3a-99f4-f2ac4567d4da" providerId="ADAL" clId="{6AB8A73D-CDEF-4FB5-9165-71445BE59506}" dt="2020-07-10T11:53:24.165" v="25" actId="164"/>
          <ac:grpSpMkLst>
            <pc:docMk/>
            <pc:sldMk cId="3665884044" sldId="1871"/>
            <ac:grpSpMk id="6" creationId="{74502967-3A75-4AC1-9493-4899C906B069}"/>
          </ac:grpSpMkLst>
        </pc:grpChg>
        <pc:grpChg chg="add mod">
          <ac:chgData name="Bantei Sangma [Chillibreeze]" userId="e7070ce9-26a8-4d3a-99f4-f2ac4567d4da" providerId="ADAL" clId="{6AB8A73D-CDEF-4FB5-9165-71445BE59506}" dt="2020-07-10T11:53:23.770" v="24" actId="164"/>
          <ac:grpSpMkLst>
            <pc:docMk/>
            <pc:sldMk cId="3665884044" sldId="1871"/>
            <ac:grpSpMk id="7" creationId="{F63B1301-6733-4D93-9EE5-B98FDBBFC4E4}"/>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8" creationId="{842D8616-FD38-4BD8-9A00-5B0D7580A9E4}"/>
          </ac:grpSpMkLst>
        </pc:grpChg>
        <pc:grpChg chg="add del mod">
          <ac:chgData name="Bantei Sangma [Chillibreeze]" userId="e7070ce9-26a8-4d3a-99f4-f2ac4567d4da" providerId="ADAL" clId="{6AB8A73D-CDEF-4FB5-9165-71445BE59506}" dt="2020-07-10T11:55:45.672" v="69" actId="165"/>
          <ac:grpSpMkLst>
            <pc:docMk/>
            <pc:sldMk cId="3665884044" sldId="1871"/>
            <ac:grpSpMk id="9" creationId="{4B0B4A87-206E-474D-B48D-CD686360B6FA}"/>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10" creationId="{B43FB183-CF5A-490E-B648-F4040756B9F0}"/>
          </ac:grpSpMkLst>
        </pc:grpChg>
        <pc:grpChg chg="add mod">
          <ac:chgData name="Bantei Sangma [Chillibreeze]" userId="e7070ce9-26a8-4d3a-99f4-f2ac4567d4da" providerId="ADAL" clId="{6AB8A73D-CDEF-4FB5-9165-71445BE59506}" dt="2020-07-10T11:54:11.498" v="37" actId="164"/>
          <ac:grpSpMkLst>
            <pc:docMk/>
            <pc:sldMk cId="3665884044" sldId="1871"/>
            <ac:grpSpMk id="11" creationId="{2FB1DD96-0DCC-4E26-83C9-734B689D3E85}"/>
          </ac:grpSpMkLst>
        </pc:grpChg>
        <pc:grpChg chg="add del mod">
          <ac:chgData name="Bantei Sangma [Chillibreeze]" userId="e7070ce9-26a8-4d3a-99f4-f2ac4567d4da" providerId="ADAL" clId="{6AB8A73D-CDEF-4FB5-9165-71445BE59506}" dt="2020-07-10T11:55:45.672" v="69" actId="165"/>
          <ac:grpSpMkLst>
            <pc:docMk/>
            <pc:sldMk cId="3665884044" sldId="1871"/>
            <ac:grpSpMk id="12" creationId="{5B057376-6674-4176-B320-AC8576AC5EDD}"/>
          </ac:grpSpMkLst>
        </pc:grpChg>
        <pc:grpChg chg="add mod">
          <ac:chgData name="Bantei Sangma [Chillibreeze]" userId="e7070ce9-26a8-4d3a-99f4-f2ac4567d4da" providerId="ADAL" clId="{6AB8A73D-CDEF-4FB5-9165-71445BE59506}" dt="2020-07-10T11:54:20.080" v="41" actId="164"/>
          <ac:grpSpMkLst>
            <pc:docMk/>
            <pc:sldMk cId="3665884044" sldId="1871"/>
            <ac:grpSpMk id="13" creationId="{6A1D7BF9-A524-44E0-9AFA-38F9A688F534}"/>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14" creationId="{512395A5-0730-457F-B163-A3F840B01929}"/>
          </ac:grpSpMkLst>
        </pc:grpChg>
        <pc:grpChg chg="add del mod">
          <ac:chgData name="Bantei Sangma [Chillibreeze]" userId="e7070ce9-26a8-4d3a-99f4-f2ac4567d4da" providerId="ADAL" clId="{6AB8A73D-CDEF-4FB5-9165-71445BE59506}" dt="2020-07-10T11:55:45.672" v="69" actId="165"/>
          <ac:grpSpMkLst>
            <pc:docMk/>
            <pc:sldMk cId="3665884044" sldId="1871"/>
            <ac:grpSpMk id="15" creationId="{005FC64E-A2DF-41FE-A83B-577EE6C7F98A}"/>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16" creationId="{036F7C2A-0376-44E0-8A0F-2F60D789C6C4}"/>
          </ac:grpSpMkLst>
        </pc:grpChg>
        <pc:grpChg chg="add del mod">
          <ac:chgData name="Bantei Sangma [Chillibreeze]" userId="e7070ce9-26a8-4d3a-99f4-f2ac4567d4da" providerId="ADAL" clId="{6AB8A73D-CDEF-4FB5-9165-71445BE59506}" dt="2020-07-10T11:55:45.672" v="69" actId="165"/>
          <ac:grpSpMkLst>
            <pc:docMk/>
            <pc:sldMk cId="3665884044" sldId="1871"/>
            <ac:grpSpMk id="17" creationId="{96E22CEE-B9D7-4291-B078-28C1FD96BA16}"/>
          </ac:grpSpMkLst>
        </pc:grpChg>
        <pc:grpChg chg="add del mod topLvl">
          <ac:chgData name="Bantei Sangma [Chillibreeze]" userId="e7070ce9-26a8-4d3a-99f4-f2ac4567d4da" providerId="ADAL" clId="{6AB8A73D-CDEF-4FB5-9165-71445BE59506}" dt="2020-07-10T11:56:43.905" v="73" actId="165"/>
          <ac:grpSpMkLst>
            <pc:docMk/>
            <pc:sldMk cId="3665884044" sldId="1871"/>
            <ac:grpSpMk id="18" creationId="{DB9C8C7B-3084-4BD9-9AC7-7F9C61A8D332}"/>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19" creationId="{9CA168F4-556F-497F-B3D6-D0637DB5C2FD}"/>
          </ac:grpSpMkLst>
        </pc:grpChg>
        <pc:grpChg chg="add del mod">
          <ac:chgData name="Bantei Sangma [Chillibreeze]" userId="e7070ce9-26a8-4d3a-99f4-f2ac4567d4da" providerId="ADAL" clId="{6AB8A73D-CDEF-4FB5-9165-71445BE59506}" dt="2020-07-10T11:55:45.672" v="69" actId="165"/>
          <ac:grpSpMkLst>
            <pc:docMk/>
            <pc:sldMk cId="3665884044" sldId="1871"/>
            <ac:grpSpMk id="20" creationId="{1F4B0FD7-1ABE-45E9-B2D0-ECAC5802E64E}"/>
          </ac:grpSpMkLst>
        </pc:grpChg>
        <pc:grpChg chg="add mod topLvl">
          <ac:chgData name="Bantei Sangma [Chillibreeze]" userId="e7070ce9-26a8-4d3a-99f4-f2ac4567d4da" providerId="ADAL" clId="{6AB8A73D-CDEF-4FB5-9165-71445BE59506}" dt="2020-07-10T11:55:45.672" v="69" actId="165"/>
          <ac:grpSpMkLst>
            <pc:docMk/>
            <pc:sldMk cId="3665884044" sldId="1871"/>
            <ac:grpSpMk id="21" creationId="{31B92DD0-BF3D-4EA3-8D0F-469B48F64D9F}"/>
          </ac:grpSpMkLst>
        </pc:grpChg>
        <pc:grpChg chg="add del mod">
          <ac:chgData name="Bantei Sangma [Chillibreeze]" userId="e7070ce9-26a8-4d3a-99f4-f2ac4567d4da" providerId="ADAL" clId="{6AB8A73D-CDEF-4FB5-9165-71445BE59506}" dt="2020-07-10T11:55:45.672" v="69" actId="165"/>
          <ac:grpSpMkLst>
            <pc:docMk/>
            <pc:sldMk cId="3665884044" sldId="1871"/>
            <ac:grpSpMk id="22" creationId="{4EB4CE46-C24D-4651-BAF6-DA666AFA6089}"/>
          </ac:grpSpMkLst>
        </pc:grpChg>
        <pc:grpChg chg="add del mod">
          <ac:chgData name="Bantei Sangma [Chillibreeze]" userId="e7070ce9-26a8-4d3a-99f4-f2ac4567d4da" providerId="ADAL" clId="{6AB8A73D-CDEF-4FB5-9165-71445BE59506}" dt="2020-07-10T11:55:45.672" v="69" actId="165"/>
          <ac:grpSpMkLst>
            <pc:docMk/>
            <pc:sldMk cId="3665884044" sldId="1871"/>
            <ac:grpSpMk id="23" creationId="{0AF148B5-5C9A-4F8C-9FED-9E94899ED408}"/>
          </ac:grpSpMkLst>
        </pc:grpChg>
        <pc:picChg chg="mod">
          <ac:chgData name="Bantei Sangma [Chillibreeze]" userId="e7070ce9-26a8-4d3a-99f4-f2ac4567d4da" providerId="ADAL" clId="{6AB8A73D-CDEF-4FB5-9165-71445BE59506}" dt="2020-07-10T11:55:45.672" v="69" actId="165"/>
          <ac:picMkLst>
            <pc:docMk/>
            <pc:sldMk cId="3665884044" sldId="1871"/>
            <ac:picMk id="36" creationId="{3DE4D567-C3D4-43EB-B43A-B17244614DE6}"/>
          </ac:picMkLst>
        </pc:picChg>
        <pc:picChg chg="mod">
          <ac:chgData name="Bantei Sangma [Chillibreeze]" userId="e7070ce9-26a8-4d3a-99f4-f2ac4567d4da" providerId="ADAL" clId="{6AB8A73D-CDEF-4FB5-9165-71445BE59506}" dt="2020-07-10T11:55:45.672" v="69" actId="165"/>
          <ac:picMkLst>
            <pc:docMk/>
            <pc:sldMk cId="3665884044" sldId="1871"/>
            <ac:picMk id="46" creationId="{C25BE70A-93F6-47AA-B7A4-80A21DE498E7}"/>
          </ac:picMkLst>
        </pc:picChg>
        <pc:picChg chg="mod">
          <ac:chgData name="Bantei Sangma [Chillibreeze]" userId="e7070ce9-26a8-4d3a-99f4-f2ac4567d4da" providerId="ADAL" clId="{6AB8A73D-CDEF-4FB5-9165-71445BE59506}" dt="2020-07-10T11:55:45.672" v="69" actId="165"/>
          <ac:picMkLst>
            <pc:docMk/>
            <pc:sldMk cId="3665884044" sldId="1871"/>
            <ac:picMk id="104" creationId="{27056395-3DEA-475F-B116-BBA0A6C4487C}"/>
          </ac:picMkLst>
        </pc:picChg>
        <pc:picChg chg="mod topLvl">
          <ac:chgData name="Bantei Sangma [Chillibreeze]" userId="e7070ce9-26a8-4d3a-99f4-f2ac4567d4da" providerId="ADAL" clId="{6AB8A73D-CDEF-4FB5-9165-71445BE59506}" dt="2020-07-10T11:55:45.672" v="69" actId="165"/>
          <ac:picMkLst>
            <pc:docMk/>
            <pc:sldMk cId="3665884044" sldId="1871"/>
            <ac:picMk id="107" creationId="{9219084A-6737-471A-8506-25D80DE3FC23}"/>
          </ac:picMkLst>
        </pc:picChg>
        <pc:picChg chg="mod">
          <ac:chgData name="Bantei Sangma [Chillibreeze]" userId="e7070ce9-26a8-4d3a-99f4-f2ac4567d4da" providerId="ADAL" clId="{6AB8A73D-CDEF-4FB5-9165-71445BE59506}" dt="2020-07-10T11:55:45.672" v="69" actId="165"/>
          <ac:picMkLst>
            <pc:docMk/>
            <pc:sldMk cId="3665884044" sldId="1871"/>
            <ac:picMk id="109" creationId="{41D288E3-A43A-4EE9-BC7E-141435B9DB11}"/>
          </ac:picMkLst>
        </pc:picChg>
        <pc:picChg chg="mod">
          <ac:chgData name="Bantei Sangma [Chillibreeze]" userId="e7070ce9-26a8-4d3a-99f4-f2ac4567d4da" providerId="ADAL" clId="{6AB8A73D-CDEF-4FB5-9165-71445BE59506}" dt="2020-07-10T11:55:45.672" v="69" actId="165"/>
          <ac:picMkLst>
            <pc:docMk/>
            <pc:sldMk cId="3665884044" sldId="1871"/>
            <ac:picMk id="110" creationId="{DED0B891-4A1C-4CDA-9F8E-E18E55FF1776}"/>
          </ac:picMkLst>
        </pc:picChg>
        <pc:picChg chg="mod">
          <ac:chgData name="Bantei Sangma [Chillibreeze]" userId="e7070ce9-26a8-4d3a-99f4-f2ac4567d4da" providerId="ADAL" clId="{6AB8A73D-CDEF-4FB5-9165-71445BE59506}" dt="2020-07-10T11:55:45.672" v="69" actId="165"/>
          <ac:picMkLst>
            <pc:docMk/>
            <pc:sldMk cId="3665884044" sldId="1871"/>
            <ac:picMk id="111" creationId="{DD6135A8-D536-4834-A1AD-26148CE8B104}"/>
          </ac:picMkLst>
        </pc:picChg>
        <pc:picChg chg="mod">
          <ac:chgData name="Bantei Sangma [Chillibreeze]" userId="e7070ce9-26a8-4d3a-99f4-f2ac4567d4da" providerId="ADAL" clId="{6AB8A73D-CDEF-4FB5-9165-71445BE59506}" dt="2020-07-10T11:55:45.672" v="69" actId="165"/>
          <ac:picMkLst>
            <pc:docMk/>
            <pc:sldMk cId="3665884044" sldId="1871"/>
            <ac:picMk id="112" creationId="{91820C4A-51A2-4DCE-8658-C6C2495B5AA3}"/>
          </ac:picMkLst>
        </pc:picChg>
        <pc:picChg chg="mod">
          <ac:chgData name="Bantei Sangma [Chillibreeze]" userId="e7070ce9-26a8-4d3a-99f4-f2ac4567d4da" providerId="ADAL" clId="{6AB8A73D-CDEF-4FB5-9165-71445BE59506}" dt="2020-07-10T11:55:45.672" v="69" actId="165"/>
          <ac:picMkLst>
            <pc:docMk/>
            <pc:sldMk cId="3665884044" sldId="1871"/>
            <ac:picMk id="113" creationId="{4C985BCC-924C-4416-A1B7-BD17F14BFC7C}"/>
          </ac:picMkLst>
        </pc:picChg>
        <pc:picChg chg="mod topLvl">
          <ac:chgData name="Bantei Sangma [Chillibreeze]" userId="e7070ce9-26a8-4d3a-99f4-f2ac4567d4da" providerId="ADAL" clId="{6AB8A73D-CDEF-4FB5-9165-71445BE59506}" dt="2020-07-10T11:56:43.905" v="73" actId="165"/>
          <ac:picMkLst>
            <pc:docMk/>
            <pc:sldMk cId="3665884044" sldId="1871"/>
            <ac:picMk id="155" creationId="{D4A5FCC1-C008-4609-811F-F53C6738D803}"/>
          </ac:picMkLst>
        </pc:picChg>
        <pc:picChg chg="mod">
          <ac:chgData name="Bantei Sangma [Chillibreeze]" userId="e7070ce9-26a8-4d3a-99f4-f2ac4567d4da" providerId="ADAL" clId="{6AB8A73D-CDEF-4FB5-9165-71445BE59506}" dt="2020-07-10T11:55:45.672" v="69" actId="165"/>
          <ac:picMkLst>
            <pc:docMk/>
            <pc:sldMk cId="3665884044" sldId="1871"/>
            <ac:picMk id="156" creationId="{BAD2C1A5-1A70-4CDD-A768-8F748B8B2C30}"/>
          </ac:picMkLst>
        </pc:picChg>
        <pc:picChg chg="mod">
          <ac:chgData name="Bantei Sangma [Chillibreeze]" userId="e7070ce9-26a8-4d3a-99f4-f2ac4567d4da" providerId="ADAL" clId="{6AB8A73D-CDEF-4FB5-9165-71445BE59506}" dt="2020-07-10T11:55:45.672" v="69" actId="165"/>
          <ac:picMkLst>
            <pc:docMk/>
            <pc:sldMk cId="3665884044" sldId="1871"/>
            <ac:picMk id="158" creationId="{7BD6DA3C-12E5-4055-AF9D-3377F4811560}"/>
          </ac:picMkLst>
        </pc:picChg>
        <pc:picChg chg="mod">
          <ac:chgData name="Bantei Sangma [Chillibreeze]" userId="e7070ce9-26a8-4d3a-99f4-f2ac4567d4da" providerId="ADAL" clId="{6AB8A73D-CDEF-4FB5-9165-71445BE59506}" dt="2020-07-10T11:55:45.672" v="69" actId="165"/>
          <ac:picMkLst>
            <pc:docMk/>
            <pc:sldMk cId="3665884044" sldId="1871"/>
            <ac:picMk id="159" creationId="{0C37DD97-FFD8-4B57-8A3B-C214610D1475}"/>
          </ac:picMkLst>
        </pc:picChg>
        <pc:picChg chg="mod">
          <ac:chgData name="Bantei Sangma [Chillibreeze]" userId="e7070ce9-26a8-4d3a-99f4-f2ac4567d4da" providerId="ADAL" clId="{6AB8A73D-CDEF-4FB5-9165-71445BE59506}" dt="2020-07-10T11:55:45.672" v="69" actId="165"/>
          <ac:picMkLst>
            <pc:docMk/>
            <pc:sldMk cId="3665884044" sldId="1871"/>
            <ac:picMk id="161" creationId="{0C7F91FA-BCBE-4BB4-BB63-0A63FEBF3ECF}"/>
          </ac:picMkLst>
        </pc:picChg>
        <pc:cxnChg chg="add del">
          <ac:chgData name="Bantei Sangma [Chillibreeze]" userId="e7070ce9-26a8-4d3a-99f4-f2ac4567d4da" providerId="ADAL" clId="{6AB8A73D-CDEF-4FB5-9165-71445BE59506}" dt="2020-07-10T11:53:27.922" v="30" actId="478"/>
          <ac:cxnSpMkLst>
            <pc:docMk/>
            <pc:sldMk cId="3665884044" sldId="1871"/>
            <ac:cxnSpMk id="27" creationId="{7E98C960-8A85-43E8-9A6C-C59486E4E9C9}"/>
          </ac:cxnSpMkLst>
        </pc:cxnChg>
        <pc:cxnChg chg="add del">
          <ac:chgData name="Bantei Sangma [Chillibreeze]" userId="e7070ce9-26a8-4d3a-99f4-f2ac4567d4da" providerId="ADAL" clId="{6AB8A73D-CDEF-4FB5-9165-71445BE59506}" dt="2020-07-10T11:53:27.922" v="30" actId="478"/>
          <ac:cxnSpMkLst>
            <pc:docMk/>
            <pc:sldMk cId="3665884044" sldId="1871"/>
            <ac:cxnSpMk id="28" creationId="{33CA9BED-C15E-4B40-B1C5-C76526203A2C}"/>
          </ac:cxnSpMkLst>
        </pc:cxnChg>
        <pc:cxnChg chg="add del">
          <ac:chgData name="Bantei Sangma [Chillibreeze]" userId="e7070ce9-26a8-4d3a-99f4-f2ac4567d4da" providerId="ADAL" clId="{6AB8A73D-CDEF-4FB5-9165-71445BE59506}" dt="2020-07-10T11:53:27.922" v="30" actId="478"/>
          <ac:cxnSpMkLst>
            <pc:docMk/>
            <pc:sldMk cId="3665884044" sldId="1871"/>
            <ac:cxnSpMk id="29" creationId="{B872C53D-BA20-486C-B96E-0D16B66B85E2}"/>
          </ac:cxnSpMkLst>
        </pc:cxnChg>
        <pc:cxnChg chg="add del">
          <ac:chgData name="Bantei Sangma [Chillibreeze]" userId="e7070ce9-26a8-4d3a-99f4-f2ac4567d4da" providerId="ADAL" clId="{6AB8A73D-CDEF-4FB5-9165-71445BE59506}" dt="2020-07-10T11:53:27.922" v="30" actId="478"/>
          <ac:cxnSpMkLst>
            <pc:docMk/>
            <pc:sldMk cId="3665884044" sldId="1871"/>
            <ac:cxnSpMk id="30" creationId="{BF7E3ADE-E30C-47FE-8834-21FC41443FD6}"/>
          </ac:cxnSpMkLst>
        </pc:cxnChg>
        <pc:cxnChg chg="add del">
          <ac:chgData name="Bantei Sangma [Chillibreeze]" userId="e7070ce9-26a8-4d3a-99f4-f2ac4567d4da" providerId="ADAL" clId="{6AB8A73D-CDEF-4FB5-9165-71445BE59506}" dt="2020-07-10T11:53:27.922" v="30" actId="478"/>
          <ac:cxnSpMkLst>
            <pc:docMk/>
            <pc:sldMk cId="3665884044" sldId="1871"/>
            <ac:cxnSpMk id="31" creationId="{00AA8107-AC6E-481C-8B3B-898399898A0B}"/>
          </ac:cxnSpMkLst>
        </pc:cxnChg>
        <pc:cxnChg chg="add del">
          <ac:chgData name="Bantei Sangma [Chillibreeze]" userId="e7070ce9-26a8-4d3a-99f4-f2ac4567d4da" providerId="ADAL" clId="{6AB8A73D-CDEF-4FB5-9165-71445BE59506}" dt="2020-07-10T11:53:27.922" v="30" actId="478"/>
          <ac:cxnSpMkLst>
            <pc:docMk/>
            <pc:sldMk cId="3665884044" sldId="1871"/>
            <ac:cxnSpMk id="98" creationId="{8FE4C09C-68AC-426A-ADBA-944C43EB9B32}"/>
          </ac:cxnSpMkLst>
        </pc:cxnChg>
      </pc:sldChg>
      <pc:sldChg chg="modSp mod">
        <pc:chgData name="Bantei Sangma [Chillibreeze]" userId="e7070ce9-26a8-4d3a-99f4-f2ac4567d4da" providerId="ADAL" clId="{6AB8A73D-CDEF-4FB5-9165-71445BE59506}" dt="2020-07-10T17:11:10.521" v="735" actId="1076"/>
        <pc:sldMkLst>
          <pc:docMk/>
          <pc:sldMk cId="2122675882" sldId="1915"/>
        </pc:sldMkLst>
        <pc:spChg chg="mod">
          <ac:chgData name="Bantei Sangma [Chillibreeze]" userId="e7070ce9-26a8-4d3a-99f4-f2ac4567d4da" providerId="ADAL" clId="{6AB8A73D-CDEF-4FB5-9165-71445BE59506}" dt="2020-07-10T17:11:10.521" v="735" actId="1076"/>
          <ac:spMkLst>
            <pc:docMk/>
            <pc:sldMk cId="2122675882" sldId="1915"/>
            <ac:spMk id="11" creationId="{391D3521-4F20-4F43-8CEB-FE403318D1E6}"/>
          </ac:spMkLst>
        </pc:spChg>
      </pc:sldChg>
      <pc:sldChg chg="modSp mod">
        <pc:chgData name="Bantei Sangma [Chillibreeze]" userId="e7070ce9-26a8-4d3a-99f4-f2ac4567d4da" providerId="ADAL" clId="{6AB8A73D-CDEF-4FB5-9165-71445BE59506}" dt="2020-07-10T17:11:44.812" v="741" actId="20577"/>
        <pc:sldMkLst>
          <pc:docMk/>
          <pc:sldMk cId="1383309642" sldId="1916"/>
        </pc:sldMkLst>
        <pc:spChg chg="mod">
          <ac:chgData name="Bantei Sangma [Chillibreeze]" userId="e7070ce9-26a8-4d3a-99f4-f2ac4567d4da" providerId="ADAL" clId="{6AB8A73D-CDEF-4FB5-9165-71445BE59506}" dt="2020-07-10T17:11:44.812" v="741" actId="20577"/>
          <ac:spMkLst>
            <pc:docMk/>
            <pc:sldMk cId="1383309642" sldId="1916"/>
            <ac:spMk id="2" creationId="{6C235A66-F610-4B83-9188-7E704542C7EA}"/>
          </ac:spMkLst>
        </pc:spChg>
        <pc:spChg chg="mod">
          <ac:chgData name="Bantei Sangma [Chillibreeze]" userId="e7070ce9-26a8-4d3a-99f4-f2ac4567d4da" providerId="ADAL" clId="{6AB8A73D-CDEF-4FB5-9165-71445BE59506}" dt="2020-07-10T17:11:26.446" v="737" actId="1076"/>
          <ac:spMkLst>
            <pc:docMk/>
            <pc:sldMk cId="1383309642" sldId="1916"/>
            <ac:spMk id="13" creationId="{63447DC5-67F7-4275-B7F0-9186EF33CA7B}"/>
          </ac:spMkLst>
        </pc:spChg>
      </pc:sldChg>
      <pc:sldChg chg="modSp mod">
        <pc:chgData name="Bantei Sangma [Chillibreeze]" userId="e7070ce9-26a8-4d3a-99f4-f2ac4567d4da" providerId="ADAL" clId="{6AB8A73D-CDEF-4FB5-9165-71445BE59506}" dt="2020-07-10T17:17:30.980" v="793" actId="242"/>
        <pc:sldMkLst>
          <pc:docMk/>
          <pc:sldMk cId="1801735399" sldId="1917"/>
        </pc:sldMkLst>
        <pc:spChg chg="mod">
          <ac:chgData name="Bantei Sangma [Chillibreeze]" userId="e7070ce9-26a8-4d3a-99f4-f2ac4567d4da" providerId="ADAL" clId="{6AB8A73D-CDEF-4FB5-9165-71445BE59506}" dt="2020-07-10T17:17:19.288" v="790" actId="313"/>
          <ac:spMkLst>
            <pc:docMk/>
            <pc:sldMk cId="1801735399" sldId="1917"/>
            <ac:spMk id="2" creationId="{8B7D2504-CD52-4530-95A0-64324BCD7B4B}"/>
          </ac:spMkLst>
        </pc:spChg>
        <pc:spChg chg="mod">
          <ac:chgData name="Bantei Sangma [Chillibreeze]" userId="e7070ce9-26a8-4d3a-99f4-f2ac4567d4da" providerId="ADAL" clId="{6AB8A73D-CDEF-4FB5-9165-71445BE59506}" dt="2020-07-10T17:17:22.393" v="792" actId="313"/>
          <ac:spMkLst>
            <pc:docMk/>
            <pc:sldMk cId="1801735399" sldId="1917"/>
            <ac:spMk id="5" creationId="{5218CEFF-5AE7-4580-BBBA-7F13632FC6AC}"/>
          </ac:spMkLst>
        </pc:spChg>
        <pc:spChg chg="mod">
          <ac:chgData name="Bantei Sangma [Chillibreeze]" userId="e7070ce9-26a8-4d3a-99f4-f2ac4567d4da" providerId="ADAL" clId="{6AB8A73D-CDEF-4FB5-9165-71445BE59506}" dt="2020-07-10T17:17:30.980" v="793" actId="242"/>
          <ac:spMkLst>
            <pc:docMk/>
            <pc:sldMk cId="1801735399" sldId="1917"/>
            <ac:spMk id="19" creationId="{B2E026DF-BC43-49E3-A2D4-98D94AE3ED9B}"/>
          </ac:spMkLst>
        </pc:spChg>
        <pc:spChg chg="mod">
          <ac:chgData name="Bantei Sangma [Chillibreeze]" userId="e7070ce9-26a8-4d3a-99f4-f2ac4567d4da" providerId="ADAL" clId="{6AB8A73D-CDEF-4FB5-9165-71445BE59506}" dt="2020-07-10T17:17:30.980" v="793" actId="242"/>
          <ac:spMkLst>
            <pc:docMk/>
            <pc:sldMk cId="1801735399" sldId="1917"/>
            <ac:spMk id="21" creationId="{9F6ED548-05AE-431D-B1DD-50C21DE36ACA}"/>
          </ac:spMkLst>
        </pc:spChg>
        <pc:spChg chg="mod">
          <ac:chgData name="Bantei Sangma [Chillibreeze]" userId="e7070ce9-26a8-4d3a-99f4-f2ac4567d4da" providerId="ADAL" clId="{6AB8A73D-CDEF-4FB5-9165-71445BE59506}" dt="2020-07-10T17:17:30.980" v="793" actId="242"/>
          <ac:spMkLst>
            <pc:docMk/>
            <pc:sldMk cId="1801735399" sldId="1917"/>
            <ac:spMk id="24" creationId="{CA8C08A1-482A-4CD6-A533-F56EB17AD84D}"/>
          </ac:spMkLst>
        </pc:spChg>
        <pc:spChg chg="mod">
          <ac:chgData name="Bantei Sangma [Chillibreeze]" userId="e7070ce9-26a8-4d3a-99f4-f2ac4567d4da" providerId="ADAL" clId="{6AB8A73D-CDEF-4FB5-9165-71445BE59506}" dt="2020-07-10T17:17:30.980" v="793" actId="242"/>
          <ac:spMkLst>
            <pc:docMk/>
            <pc:sldMk cId="1801735399" sldId="1917"/>
            <ac:spMk id="26" creationId="{7298D123-CA99-4FE7-87BA-E40C2C3E3AB4}"/>
          </ac:spMkLst>
        </pc:spChg>
      </pc:sldChg>
      <pc:sldChg chg="modSp mod">
        <pc:chgData name="Bantei Sangma [Chillibreeze]" userId="e7070ce9-26a8-4d3a-99f4-f2ac4567d4da" providerId="ADAL" clId="{6AB8A73D-CDEF-4FB5-9165-71445BE59506}" dt="2020-07-10T17:12:02.451" v="746" actId="242"/>
        <pc:sldMkLst>
          <pc:docMk/>
          <pc:sldMk cId="2201763488" sldId="1918"/>
        </pc:sldMkLst>
        <pc:spChg chg="mod">
          <ac:chgData name="Bantei Sangma [Chillibreeze]" userId="e7070ce9-26a8-4d3a-99f4-f2ac4567d4da" providerId="ADAL" clId="{6AB8A73D-CDEF-4FB5-9165-71445BE59506}" dt="2020-07-10T17:11:56.809" v="745" actId="20577"/>
          <ac:spMkLst>
            <pc:docMk/>
            <pc:sldMk cId="2201763488" sldId="1918"/>
            <ac:spMk id="2" creationId="{D491ED86-CEFB-41E7-A879-B7A00DC930D3}"/>
          </ac:spMkLst>
        </pc:spChg>
        <pc:spChg chg="mod">
          <ac:chgData name="Bantei Sangma [Chillibreeze]" userId="e7070ce9-26a8-4d3a-99f4-f2ac4567d4da" providerId="ADAL" clId="{6AB8A73D-CDEF-4FB5-9165-71445BE59506}" dt="2020-07-10T17:12:02.451" v="746" actId="242"/>
          <ac:spMkLst>
            <pc:docMk/>
            <pc:sldMk cId="2201763488" sldId="1918"/>
            <ac:spMk id="9" creationId="{64C79184-DC63-4E91-8FAD-A1086D2B41A9}"/>
          </ac:spMkLst>
        </pc:spChg>
        <pc:spChg chg="mod">
          <ac:chgData name="Bantei Sangma [Chillibreeze]" userId="e7070ce9-26a8-4d3a-99f4-f2ac4567d4da" providerId="ADAL" clId="{6AB8A73D-CDEF-4FB5-9165-71445BE59506}" dt="2020-07-10T17:12:02.451" v="746" actId="242"/>
          <ac:spMkLst>
            <pc:docMk/>
            <pc:sldMk cId="2201763488" sldId="1918"/>
            <ac:spMk id="12" creationId="{BCFD303F-6DEC-4747-A494-A1E48CBC3C98}"/>
          </ac:spMkLst>
        </pc:spChg>
      </pc:sldChg>
      <pc:sldChg chg="add del">
        <pc:chgData name="Bantei Sangma [Chillibreeze]" userId="e7070ce9-26a8-4d3a-99f4-f2ac4567d4da" providerId="ADAL" clId="{6AB8A73D-CDEF-4FB5-9165-71445BE59506}" dt="2020-07-10T12:25:03.955" v="451" actId="47"/>
        <pc:sldMkLst>
          <pc:docMk/>
          <pc:sldMk cId="3560731283" sldId="1919"/>
        </pc:sldMkLst>
      </pc:sldChg>
      <pc:sldChg chg="modSp add del mod modClrScheme chgLayout">
        <pc:chgData name="Bantei Sangma [Chillibreeze]" userId="e7070ce9-26a8-4d3a-99f4-f2ac4567d4da" providerId="ADAL" clId="{6AB8A73D-CDEF-4FB5-9165-71445BE59506}" dt="2020-07-10T12:25:34.596" v="458" actId="47"/>
        <pc:sldMkLst>
          <pc:docMk/>
          <pc:sldMk cId="3060697331" sldId="1920"/>
        </pc:sldMkLst>
        <pc:spChg chg="mod ord">
          <ac:chgData name="Bantei Sangma [Chillibreeze]" userId="e7070ce9-26a8-4d3a-99f4-f2ac4567d4da" providerId="ADAL" clId="{6AB8A73D-CDEF-4FB5-9165-71445BE59506}" dt="2020-07-10T12:14:46.261" v="253" actId="700"/>
          <ac:spMkLst>
            <pc:docMk/>
            <pc:sldMk cId="3060697331" sldId="1920"/>
            <ac:spMk id="4" creationId="{0CD8665D-5A50-4F07-9D33-48CCD3FD74C7}"/>
          </ac:spMkLst>
        </pc:spChg>
        <pc:picChg chg="mod">
          <ac:chgData name="Bantei Sangma [Chillibreeze]" userId="e7070ce9-26a8-4d3a-99f4-f2ac4567d4da" providerId="ADAL" clId="{6AB8A73D-CDEF-4FB5-9165-71445BE59506}" dt="2020-07-10T12:15:33.533" v="267" actId="1076"/>
          <ac:picMkLst>
            <pc:docMk/>
            <pc:sldMk cId="3060697331" sldId="1920"/>
            <ac:picMk id="3" creationId="{7032BA89-7D49-4545-BF3A-CB2FADD7D188}"/>
          </ac:picMkLst>
        </pc:picChg>
      </pc:sldChg>
      <pc:sldChg chg="add del">
        <pc:chgData name="Bantei Sangma [Chillibreeze]" userId="e7070ce9-26a8-4d3a-99f4-f2ac4567d4da" providerId="ADAL" clId="{6AB8A73D-CDEF-4FB5-9165-71445BE59506}" dt="2020-07-10T12:26:15.858" v="477" actId="47"/>
        <pc:sldMkLst>
          <pc:docMk/>
          <pc:sldMk cId="1663750524" sldId="1921"/>
        </pc:sldMkLst>
      </pc:sldChg>
      <pc:sldChg chg="add del">
        <pc:chgData name="Bantei Sangma [Chillibreeze]" userId="e7070ce9-26a8-4d3a-99f4-f2ac4567d4da" providerId="ADAL" clId="{6AB8A73D-CDEF-4FB5-9165-71445BE59506}" dt="2020-07-10T12:25:40.125" v="459" actId="47"/>
        <pc:sldMkLst>
          <pc:docMk/>
          <pc:sldMk cId="316985794" sldId="1922"/>
        </pc:sldMkLst>
      </pc:sldChg>
      <pc:sldChg chg="modSp add del mod modClrScheme chgLayout">
        <pc:chgData name="Bantei Sangma [Chillibreeze]" userId="e7070ce9-26a8-4d3a-99f4-f2ac4567d4da" providerId="ADAL" clId="{6AB8A73D-CDEF-4FB5-9165-71445BE59506}" dt="2020-07-10T12:25:41.713" v="460" actId="47"/>
        <pc:sldMkLst>
          <pc:docMk/>
          <pc:sldMk cId="3746766023" sldId="1923"/>
        </pc:sldMkLst>
        <pc:spChg chg="mod ord">
          <ac:chgData name="Bantei Sangma [Chillibreeze]" userId="e7070ce9-26a8-4d3a-99f4-f2ac4567d4da" providerId="ADAL" clId="{6AB8A73D-CDEF-4FB5-9165-71445BE59506}" dt="2020-07-10T12:14:49.062" v="254" actId="700"/>
          <ac:spMkLst>
            <pc:docMk/>
            <pc:sldMk cId="3746766023" sldId="1923"/>
            <ac:spMk id="4" creationId="{0CD8665D-5A50-4F07-9D33-48CCD3FD74C7}"/>
          </ac:spMkLst>
        </pc:spChg>
        <pc:picChg chg="mod">
          <ac:chgData name="Bantei Sangma [Chillibreeze]" userId="e7070ce9-26a8-4d3a-99f4-f2ac4567d4da" providerId="ADAL" clId="{6AB8A73D-CDEF-4FB5-9165-71445BE59506}" dt="2020-07-10T12:15:37.629" v="269" actId="1076"/>
          <ac:picMkLst>
            <pc:docMk/>
            <pc:sldMk cId="3746766023" sldId="1923"/>
            <ac:picMk id="3" creationId="{B89D6553-01D0-458A-A370-26C78EFEBC44}"/>
          </ac:picMkLst>
        </pc:picChg>
      </pc:sldChg>
      <pc:sldChg chg="add del">
        <pc:chgData name="Bantei Sangma [Chillibreeze]" userId="e7070ce9-26a8-4d3a-99f4-f2ac4567d4da" providerId="ADAL" clId="{6AB8A73D-CDEF-4FB5-9165-71445BE59506}" dt="2020-07-10T12:25:42.912" v="461" actId="47"/>
        <pc:sldMkLst>
          <pc:docMk/>
          <pc:sldMk cId="1098888563" sldId="1924"/>
        </pc:sldMkLst>
      </pc:sldChg>
      <pc:sldChg chg="add del">
        <pc:chgData name="Bantei Sangma [Chillibreeze]" userId="e7070ce9-26a8-4d3a-99f4-f2ac4567d4da" providerId="ADAL" clId="{6AB8A73D-CDEF-4FB5-9165-71445BE59506}" dt="2020-07-10T12:25:44.490" v="462" actId="47"/>
        <pc:sldMkLst>
          <pc:docMk/>
          <pc:sldMk cId="2792011715" sldId="1925"/>
        </pc:sldMkLst>
      </pc:sldChg>
      <pc:sldChg chg="add del">
        <pc:chgData name="Bantei Sangma [Chillibreeze]" userId="e7070ce9-26a8-4d3a-99f4-f2ac4567d4da" providerId="ADAL" clId="{6AB8A73D-CDEF-4FB5-9165-71445BE59506}" dt="2020-07-10T12:25:45.582" v="463" actId="47"/>
        <pc:sldMkLst>
          <pc:docMk/>
          <pc:sldMk cId="3510746238" sldId="1926"/>
        </pc:sldMkLst>
      </pc:sldChg>
      <pc:sldChg chg="add del">
        <pc:chgData name="Bantei Sangma [Chillibreeze]" userId="e7070ce9-26a8-4d3a-99f4-f2ac4567d4da" providerId="ADAL" clId="{6AB8A73D-CDEF-4FB5-9165-71445BE59506}" dt="2020-07-10T12:25:46.432" v="464" actId="47"/>
        <pc:sldMkLst>
          <pc:docMk/>
          <pc:sldMk cId="1368653293" sldId="1927"/>
        </pc:sldMkLst>
      </pc:sldChg>
      <pc:sldChg chg="add del">
        <pc:chgData name="Bantei Sangma [Chillibreeze]" userId="e7070ce9-26a8-4d3a-99f4-f2ac4567d4da" providerId="ADAL" clId="{6AB8A73D-CDEF-4FB5-9165-71445BE59506}" dt="2020-07-10T12:25:47.215" v="465" actId="47"/>
        <pc:sldMkLst>
          <pc:docMk/>
          <pc:sldMk cId="4119159681" sldId="1928"/>
        </pc:sldMkLst>
      </pc:sldChg>
      <pc:sldChg chg="add del">
        <pc:chgData name="Bantei Sangma [Chillibreeze]" userId="e7070ce9-26a8-4d3a-99f4-f2ac4567d4da" providerId="ADAL" clId="{6AB8A73D-CDEF-4FB5-9165-71445BE59506}" dt="2020-07-10T12:25:47.939" v="466" actId="47"/>
        <pc:sldMkLst>
          <pc:docMk/>
          <pc:sldMk cId="3984470861" sldId="1929"/>
        </pc:sldMkLst>
      </pc:sldChg>
      <pc:sldChg chg="modSp add del mod modClrScheme chgLayout">
        <pc:chgData name="Bantei Sangma [Chillibreeze]" userId="e7070ce9-26a8-4d3a-99f4-f2ac4567d4da" providerId="ADAL" clId="{6AB8A73D-CDEF-4FB5-9165-71445BE59506}" dt="2020-07-10T12:25:48.734" v="467" actId="47"/>
        <pc:sldMkLst>
          <pc:docMk/>
          <pc:sldMk cId="1544169755" sldId="1930"/>
        </pc:sldMkLst>
        <pc:spChg chg="mod ord">
          <ac:chgData name="Bantei Sangma [Chillibreeze]" userId="e7070ce9-26a8-4d3a-99f4-f2ac4567d4da" providerId="ADAL" clId="{6AB8A73D-CDEF-4FB5-9165-71445BE59506}" dt="2020-07-10T12:14:51.693" v="255" actId="700"/>
          <ac:spMkLst>
            <pc:docMk/>
            <pc:sldMk cId="1544169755" sldId="1930"/>
            <ac:spMk id="4" creationId="{0CD8665D-5A50-4F07-9D33-48CCD3FD74C7}"/>
          </ac:spMkLst>
        </pc:spChg>
        <pc:picChg chg="mod">
          <ac:chgData name="Bantei Sangma [Chillibreeze]" userId="e7070ce9-26a8-4d3a-99f4-f2ac4567d4da" providerId="ADAL" clId="{6AB8A73D-CDEF-4FB5-9165-71445BE59506}" dt="2020-07-10T12:15:43.070" v="271" actId="1076"/>
          <ac:picMkLst>
            <pc:docMk/>
            <pc:sldMk cId="1544169755" sldId="1930"/>
            <ac:picMk id="3" creationId="{E8D55B3C-B03B-43C6-94C9-0A65D2B8E6A5}"/>
          </ac:picMkLst>
        </pc:picChg>
      </pc:sldChg>
      <pc:sldChg chg="add del">
        <pc:chgData name="Bantei Sangma [Chillibreeze]" userId="e7070ce9-26a8-4d3a-99f4-f2ac4567d4da" providerId="ADAL" clId="{6AB8A73D-CDEF-4FB5-9165-71445BE59506}" dt="2020-07-10T12:25:49.621" v="468" actId="47"/>
        <pc:sldMkLst>
          <pc:docMk/>
          <pc:sldMk cId="4140648588" sldId="1931"/>
        </pc:sldMkLst>
      </pc:sldChg>
      <pc:sldChg chg="add del">
        <pc:chgData name="Bantei Sangma [Chillibreeze]" userId="e7070ce9-26a8-4d3a-99f4-f2ac4567d4da" providerId="ADAL" clId="{6AB8A73D-CDEF-4FB5-9165-71445BE59506}" dt="2020-07-10T12:25:50.327" v="469" actId="47"/>
        <pc:sldMkLst>
          <pc:docMk/>
          <pc:sldMk cId="2697610982" sldId="1932"/>
        </pc:sldMkLst>
      </pc:sldChg>
      <pc:sldChg chg="add del">
        <pc:chgData name="Bantei Sangma [Chillibreeze]" userId="e7070ce9-26a8-4d3a-99f4-f2ac4567d4da" providerId="ADAL" clId="{6AB8A73D-CDEF-4FB5-9165-71445BE59506}" dt="2020-07-10T12:25:51.236" v="470" actId="47"/>
        <pc:sldMkLst>
          <pc:docMk/>
          <pc:sldMk cId="3423955256" sldId="1933"/>
        </pc:sldMkLst>
      </pc:sldChg>
      <pc:sldChg chg="add del">
        <pc:chgData name="Bantei Sangma [Chillibreeze]" userId="e7070ce9-26a8-4d3a-99f4-f2ac4567d4da" providerId="ADAL" clId="{6AB8A73D-CDEF-4FB5-9165-71445BE59506}" dt="2020-07-10T12:25:52.309" v="471" actId="47"/>
        <pc:sldMkLst>
          <pc:docMk/>
          <pc:sldMk cId="698208289" sldId="1934"/>
        </pc:sldMkLst>
      </pc:sldChg>
      <pc:sldChg chg="add del">
        <pc:chgData name="Bantei Sangma [Chillibreeze]" userId="e7070ce9-26a8-4d3a-99f4-f2ac4567d4da" providerId="ADAL" clId="{6AB8A73D-CDEF-4FB5-9165-71445BE59506}" dt="2020-07-10T12:25:53.312" v="472" actId="47"/>
        <pc:sldMkLst>
          <pc:docMk/>
          <pc:sldMk cId="3280938827" sldId="1935"/>
        </pc:sldMkLst>
      </pc:sldChg>
      <pc:sldChg chg="add del">
        <pc:chgData name="Bantei Sangma [Chillibreeze]" userId="e7070ce9-26a8-4d3a-99f4-f2ac4567d4da" providerId="ADAL" clId="{6AB8A73D-CDEF-4FB5-9165-71445BE59506}" dt="2020-07-10T12:25:53.903" v="473" actId="47"/>
        <pc:sldMkLst>
          <pc:docMk/>
          <pc:sldMk cId="2430508748" sldId="1936"/>
        </pc:sldMkLst>
      </pc:sldChg>
      <pc:sldChg chg="modSp add del mod modClrScheme chgLayout">
        <pc:chgData name="Bantei Sangma [Chillibreeze]" userId="e7070ce9-26a8-4d3a-99f4-f2ac4567d4da" providerId="ADAL" clId="{6AB8A73D-CDEF-4FB5-9165-71445BE59506}" dt="2020-07-10T12:25:58.893" v="476" actId="47"/>
        <pc:sldMkLst>
          <pc:docMk/>
          <pc:sldMk cId="1998751387" sldId="1937"/>
        </pc:sldMkLst>
        <pc:spChg chg="mod ord">
          <ac:chgData name="Bantei Sangma [Chillibreeze]" userId="e7070ce9-26a8-4d3a-99f4-f2ac4567d4da" providerId="ADAL" clId="{6AB8A73D-CDEF-4FB5-9165-71445BE59506}" dt="2020-07-10T12:15:00.943" v="257" actId="700"/>
          <ac:spMkLst>
            <pc:docMk/>
            <pc:sldMk cId="1998751387" sldId="1937"/>
            <ac:spMk id="4" creationId="{0CD8665D-5A50-4F07-9D33-48CCD3FD74C7}"/>
          </ac:spMkLst>
        </pc:spChg>
        <pc:picChg chg="mod">
          <ac:chgData name="Bantei Sangma [Chillibreeze]" userId="e7070ce9-26a8-4d3a-99f4-f2ac4567d4da" providerId="ADAL" clId="{6AB8A73D-CDEF-4FB5-9165-71445BE59506}" dt="2020-07-10T12:15:57.006" v="275" actId="1076"/>
          <ac:picMkLst>
            <pc:docMk/>
            <pc:sldMk cId="1998751387" sldId="1937"/>
            <ac:picMk id="6" creationId="{0591EBCD-7950-4A5C-9031-691E1ADDF00E}"/>
          </ac:picMkLst>
        </pc:picChg>
      </pc:sldChg>
      <pc:sldChg chg="add">
        <pc:chgData name="Bantei Sangma [Chillibreeze]" userId="e7070ce9-26a8-4d3a-99f4-f2ac4567d4da" providerId="ADAL" clId="{6AB8A73D-CDEF-4FB5-9165-71445BE59506}" dt="2020-07-10T11:49:41.334" v="7" actId="22"/>
        <pc:sldMkLst>
          <pc:docMk/>
          <pc:sldMk cId="2543009755" sldId="1938"/>
        </pc:sldMkLst>
      </pc:sldChg>
      <pc:sldChg chg="modSp add mod modClrScheme chgLayout">
        <pc:chgData name="Bantei Sangma [Chillibreeze]" userId="e7070ce9-26a8-4d3a-99f4-f2ac4567d4da" providerId="ADAL" clId="{6AB8A73D-CDEF-4FB5-9165-71445BE59506}" dt="2020-07-10T12:15:11.198" v="259" actId="1076"/>
        <pc:sldMkLst>
          <pc:docMk/>
          <pc:sldMk cId="1617877780" sldId="1939"/>
        </pc:sldMkLst>
        <pc:spChg chg="mod ord">
          <ac:chgData name="Bantei Sangma [Chillibreeze]" userId="e7070ce9-26a8-4d3a-99f4-f2ac4567d4da" providerId="ADAL" clId="{6AB8A73D-CDEF-4FB5-9165-71445BE59506}" dt="2020-07-10T12:14:32.941" v="249" actId="700"/>
          <ac:spMkLst>
            <pc:docMk/>
            <pc:sldMk cId="1617877780" sldId="1939"/>
            <ac:spMk id="4" creationId="{0CD8665D-5A50-4F07-9D33-48CCD3FD74C7}"/>
          </ac:spMkLst>
        </pc:spChg>
        <pc:picChg chg="mod">
          <ac:chgData name="Bantei Sangma [Chillibreeze]" userId="e7070ce9-26a8-4d3a-99f4-f2ac4567d4da" providerId="ADAL" clId="{6AB8A73D-CDEF-4FB5-9165-71445BE59506}" dt="2020-07-10T12:15:11.198" v="259" actId="1076"/>
          <ac:picMkLst>
            <pc:docMk/>
            <pc:sldMk cId="1617877780" sldId="1939"/>
            <ac:picMk id="3" creationId="{7032BA89-7D49-4545-BF3A-CB2FADD7D188}"/>
          </ac:picMkLst>
        </pc:picChg>
      </pc:sldChg>
      <pc:sldChg chg="modSp add mod">
        <pc:chgData name="Bantei Sangma [Chillibreeze]" userId="e7070ce9-26a8-4d3a-99f4-f2ac4567d4da" providerId="ADAL" clId="{6AB8A73D-CDEF-4FB5-9165-71445BE59506}" dt="2020-07-10T11:51:12.517" v="10" actId="1076"/>
        <pc:sldMkLst>
          <pc:docMk/>
          <pc:sldMk cId="1796562944" sldId="1940"/>
        </pc:sldMkLst>
        <pc:picChg chg="mod">
          <ac:chgData name="Bantei Sangma [Chillibreeze]" userId="e7070ce9-26a8-4d3a-99f4-f2ac4567d4da" providerId="ADAL" clId="{6AB8A73D-CDEF-4FB5-9165-71445BE59506}" dt="2020-07-10T11:51:12.517" v="10" actId="1076"/>
          <ac:picMkLst>
            <pc:docMk/>
            <pc:sldMk cId="1796562944" sldId="1940"/>
            <ac:picMk id="42" creationId="{1E101D40-EB8E-4E6B-8CC2-5C7AEB31E84A}"/>
          </ac:picMkLst>
        </pc:picChg>
      </pc:sldChg>
      <pc:sldChg chg="addSp delSp modSp add mod">
        <pc:chgData name="Bantei Sangma [Chillibreeze]" userId="e7070ce9-26a8-4d3a-99f4-f2ac4567d4da" providerId="ADAL" clId="{6AB8A73D-CDEF-4FB5-9165-71445BE59506}" dt="2020-07-10T17:03:09.179" v="689" actId="1038"/>
        <pc:sldMkLst>
          <pc:docMk/>
          <pc:sldMk cId="591348677" sldId="1941"/>
        </pc:sldMkLst>
        <pc:spChg chg="mod">
          <ac:chgData name="Bantei Sangma [Chillibreeze]" userId="e7070ce9-26a8-4d3a-99f4-f2ac4567d4da" providerId="ADAL" clId="{6AB8A73D-CDEF-4FB5-9165-71445BE59506}" dt="2020-07-10T17:03:09.179" v="689" actId="1038"/>
          <ac:spMkLst>
            <pc:docMk/>
            <pc:sldMk cId="591348677" sldId="1941"/>
            <ac:spMk id="4" creationId="{E187DEEA-C89F-4A10-AEF3-2022E07F0393}"/>
          </ac:spMkLst>
        </pc:spChg>
        <pc:spChg chg="mod">
          <ac:chgData name="Bantei Sangma [Chillibreeze]" userId="e7070ce9-26a8-4d3a-99f4-f2ac4567d4da" providerId="ADAL" clId="{6AB8A73D-CDEF-4FB5-9165-71445BE59506}" dt="2020-07-10T14:36:28.702" v="520" actId="165"/>
          <ac:spMkLst>
            <pc:docMk/>
            <pc:sldMk cId="591348677" sldId="1941"/>
            <ac:spMk id="29" creationId="{AA2BC792-0F9B-4FC7-8EF1-7C2FFBCA0D40}"/>
          </ac:spMkLst>
        </pc:spChg>
        <pc:spChg chg="mod">
          <ac:chgData name="Bantei Sangma [Chillibreeze]" userId="e7070ce9-26a8-4d3a-99f4-f2ac4567d4da" providerId="ADAL" clId="{6AB8A73D-CDEF-4FB5-9165-71445BE59506}" dt="2020-07-10T14:36:28.702" v="520" actId="165"/>
          <ac:spMkLst>
            <pc:docMk/>
            <pc:sldMk cId="591348677" sldId="1941"/>
            <ac:spMk id="30" creationId="{A390D647-EFAE-42F0-8A8D-859B3C25D11F}"/>
          </ac:spMkLst>
        </pc:spChg>
        <pc:spChg chg="mod">
          <ac:chgData name="Bantei Sangma [Chillibreeze]" userId="e7070ce9-26a8-4d3a-99f4-f2ac4567d4da" providerId="ADAL" clId="{6AB8A73D-CDEF-4FB5-9165-71445BE59506}" dt="2020-07-10T14:36:28.702" v="520" actId="165"/>
          <ac:spMkLst>
            <pc:docMk/>
            <pc:sldMk cId="591348677" sldId="1941"/>
            <ac:spMk id="34" creationId="{97C2BEE9-2511-47A3-9690-FCB65DFC88E2}"/>
          </ac:spMkLst>
        </pc:spChg>
        <pc:spChg chg="mod">
          <ac:chgData name="Bantei Sangma [Chillibreeze]" userId="e7070ce9-26a8-4d3a-99f4-f2ac4567d4da" providerId="ADAL" clId="{6AB8A73D-CDEF-4FB5-9165-71445BE59506}" dt="2020-07-10T14:36:28.702" v="520" actId="165"/>
          <ac:spMkLst>
            <pc:docMk/>
            <pc:sldMk cId="591348677" sldId="1941"/>
            <ac:spMk id="35" creationId="{753FC6F5-291F-4289-83A7-FE3247484745}"/>
          </ac:spMkLst>
        </pc:spChg>
        <pc:spChg chg="mod">
          <ac:chgData name="Bantei Sangma [Chillibreeze]" userId="e7070ce9-26a8-4d3a-99f4-f2ac4567d4da" providerId="ADAL" clId="{6AB8A73D-CDEF-4FB5-9165-71445BE59506}" dt="2020-07-10T14:36:28.702" v="520" actId="165"/>
          <ac:spMkLst>
            <pc:docMk/>
            <pc:sldMk cId="591348677" sldId="1941"/>
            <ac:spMk id="39" creationId="{083AFDE2-BA64-4D8E-9864-2549D95BA3D9}"/>
          </ac:spMkLst>
        </pc:spChg>
        <pc:spChg chg="mod">
          <ac:chgData name="Bantei Sangma [Chillibreeze]" userId="e7070ce9-26a8-4d3a-99f4-f2ac4567d4da" providerId="ADAL" clId="{6AB8A73D-CDEF-4FB5-9165-71445BE59506}" dt="2020-07-10T14:36:28.702" v="520" actId="165"/>
          <ac:spMkLst>
            <pc:docMk/>
            <pc:sldMk cId="591348677" sldId="1941"/>
            <ac:spMk id="40" creationId="{9D3CF099-DB92-45D4-8530-F178E22B2659}"/>
          </ac:spMkLst>
        </pc:spChg>
        <pc:spChg chg="mod">
          <ac:chgData name="Bantei Sangma [Chillibreeze]" userId="e7070ce9-26a8-4d3a-99f4-f2ac4567d4da" providerId="ADAL" clId="{6AB8A73D-CDEF-4FB5-9165-71445BE59506}" dt="2020-07-10T14:36:28.702" v="520" actId="165"/>
          <ac:spMkLst>
            <pc:docMk/>
            <pc:sldMk cId="591348677" sldId="1941"/>
            <ac:spMk id="46" creationId="{84F03AF4-43F8-44A9-9DEE-277627BE924E}"/>
          </ac:spMkLst>
        </pc:spChg>
        <pc:spChg chg="mod">
          <ac:chgData name="Bantei Sangma [Chillibreeze]" userId="e7070ce9-26a8-4d3a-99f4-f2ac4567d4da" providerId="ADAL" clId="{6AB8A73D-CDEF-4FB5-9165-71445BE59506}" dt="2020-07-10T14:36:28.702" v="520" actId="165"/>
          <ac:spMkLst>
            <pc:docMk/>
            <pc:sldMk cId="591348677" sldId="1941"/>
            <ac:spMk id="47" creationId="{323BA0A3-9FBD-4F1C-8E83-FDE733A3A409}"/>
          </ac:spMkLst>
        </pc:spChg>
        <pc:spChg chg="mod">
          <ac:chgData name="Bantei Sangma [Chillibreeze]" userId="e7070ce9-26a8-4d3a-99f4-f2ac4567d4da" providerId="ADAL" clId="{6AB8A73D-CDEF-4FB5-9165-71445BE59506}" dt="2020-07-10T14:36:28.702" v="520" actId="165"/>
          <ac:spMkLst>
            <pc:docMk/>
            <pc:sldMk cId="591348677" sldId="1941"/>
            <ac:spMk id="50" creationId="{91F5D180-521E-40BE-8BB2-2BA69BD57BD0}"/>
          </ac:spMkLst>
        </pc:spChg>
        <pc:spChg chg="mod">
          <ac:chgData name="Bantei Sangma [Chillibreeze]" userId="e7070ce9-26a8-4d3a-99f4-f2ac4567d4da" providerId="ADAL" clId="{6AB8A73D-CDEF-4FB5-9165-71445BE59506}" dt="2020-07-10T14:36:28.702" v="520" actId="165"/>
          <ac:spMkLst>
            <pc:docMk/>
            <pc:sldMk cId="591348677" sldId="1941"/>
            <ac:spMk id="51" creationId="{1B76AB3B-75D3-44A3-8C37-3E72394E4A4A}"/>
          </ac:spMkLst>
        </pc:spChg>
        <pc:spChg chg="mod">
          <ac:chgData name="Bantei Sangma [Chillibreeze]" userId="e7070ce9-26a8-4d3a-99f4-f2ac4567d4da" providerId="ADAL" clId="{6AB8A73D-CDEF-4FB5-9165-71445BE59506}" dt="2020-07-10T14:36:28.702" v="520" actId="165"/>
          <ac:spMkLst>
            <pc:docMk/>
            <pc:sldMk cId="591348677" sldId="1941"/>
            <ac:spMk id="55" creationId="{CDC75CC0-A8F9-4996-90CA-3CC349406135}"/>
          </ac:spMkLst>
        </pc:spChg>
        <pc:spChg chg="mod">
          <ac:chgData name="Bantei Sangma [Chillibreeze]" userId="e7070ce9-26a8-4d3a-99f4-f2ac4567d4da" providerId="ADAL" clId="{6AB8A73D-CDEF-4FB5-9165-71445BE59506}" dt="2020-07-10T14:36:28.702" v="520" actId="165"/>
          <ac:spMkLst>
            <pc:docMk/>
            <pc:sldMk cId="591348677" sldId="1941"/>
            <ac:spMk id="56" creationId="{CECC5100-74DB-44FD-90C8-3D02C367DBDB}"/>
          </ac:spMkLst>
        </pc:spChg>
        <pc:spChg chg="mod">
          <ac:chgData name="Bantei Sangma [Chillibreeze]" userId="e7070ce9-26a8-4d3a-99f4-f2ac4567d4da" providerId="ADAL" clId="{6AB8A73D-CDEF-4FB5-9165-71445BE59506}" dt="2020-07-10T14:36:28.702" v="520" actId="165"/>
          <ac:spMkLst>
            <pc:docMk/>
            <pc:sldMk cId="591348677" sldId="1941"/>
            <ac:spMk id="60" creationId="{95F756ED-D733-41D8-B9FC-B1E1493C9AEC}"/>
          </ac:spMkLst>
        </pc:spChg>
        <pc:spChg chg="mod">
          <ac:chgData name="Bantei Sangma [Chillibreeze]" userId="e7070ce9-26a8-4d3a-99f4-f2ac4567d4da" providerId="ADAL" clId="{6AB8A73D-CDEF-4FB5-9165-71445BE59506}" dt="2020-07-10T14:36:28.702" v="520" actId="165"/>
          <ac:spMkLst>
            <pc:docMk/>
            <pc:sldMk cId="591348677" sldId="1941"/>
            <ac:spMk id="61" creationId="{6C591929-5A47-4D70-97A4-6AA48313DB9A}"/>
          </ac:spMkLst>
        </pc:spChg>
        <pc:spChg chg="mod topLvl">
          <ac:chgData name="Bantei Sangma [Chillibreeze]" userId="e7070ce9-26a8-4d3a-99f4-f2ac4567d4da" providerId="ADAL" clId="{6AB8A73D-CDEF-4FB5-9165-71445BE59506}" dt="2020-07-10T17:02:45.369" v="665" actId="12789"/>
          <ac:spMkLst>
            <pc:docMk/>
            <pc:sldMk cId="591348677" sldId="1941"/>
            <ac:spMk id="83" creationId="{EED8DD50-A7B2-4D56-8ACF-E6958B950E34}"/>
          </ac:spMkLst>
        </pc:spChg>
        <pc:spChg chg="mod topLvl">
          <ac:chgData name="Bantei Sangma [Chillibreeze]" userId="e7070ce9-26a8-4d3a-99f4-f2ac4567d4da" providerId="ADAL" clId="{6AB8A73D-CDEF-4FB5-9165-71445BE59506}" dt="2020-07-10T17:02:42.080" v="664" actId="12789"/>
          <ac:spMkLst>
            <pc:docMk/>
            <pc:sldMk cId="591348677" sldId="1941"/>
            <ac:spMk id="84" creationId="{1F9F2EE6-3C1C-41C6-95A7-DD2E559B9BBE}"/>
          </ac:spMkLst>
        </pc:spChg>
        <pc:spChg chg="mod topLvl">
          <ac:chgData name="Bantei Sangma [Chillibreeze]" userId="e7070ce9-26a8-4d3a-99f4-f2ac4567d4da" providerId="ADAL" clId="{6AB8A73D-CDEF-4FB5-9165-71445BE59506}" dt="2020-07-10T17:02:38.672" v="663" actId="12789"/>
          <ac:spMkLst>
            <pc:docMk/>
            <pc:sldMk cId="591348677" sldId="1941"/>
            <ac:spMk id="85" creationId="{584688BE-9D4A-4E29-B847-079D1398984C}"/>
          </ac:spMkLst>
        </pc:spChg>
        <pc:spChg chg="mod topLvl">
          <ac:chgData name="Bantei Sangma [Chillibreeze]" userId="e7070ce9-26a8-4d3a-99f4-f2ac4567d4da" providerId="ADAL" clId="{6AB8A73D-CDEF-4FB5-9165-71445BE59506}" dt="2020-07-10T17:02:35.905" v="662" actId="12789"/>
          <ac:spMkLst>
            <pc:docMk/>
            <pc:sldMk cId="591348677" sldId="1941"/>
            <ac:spMk id="86" creationId="{B35C9F93-AB04-4D20-B8D4-7AADE814D3AB}"/>
          </ac:spMkLst>
        </pc:spChg>
        <pc:spChg chg="mod topLvl">
          <ac:chgData name="Bantei Sangma [Chillibreeze]" userId="e7070ce9-26a8-4d3a-99f4-f2ac4567d4da" providerId="ADAL" clId="{6AB8A73D-CDEF-4FB5-9165-71445BE59506}" dt="2020-07-10T17:02:32.625" v="661" actId="12789"/>
          <ac:spMkLst>
            <pc:docMk/>
            <pc:sldMk cId="591348677" sldId="1941"/>
            <ac:spMk id="87" creationId="{2CB7788C-0DD9-4621-9019-B3909CAA23D1}"/>
          </ac:spMkLst>
        </pc:spChg>
        <pc:spChg chg="mod topLvl">
          <ac:chgData name="Bantei Sangma [Chillibreeze]" userId="e7070ce9-26a8-4d3a-99f4-f2ac4567d4da" providerId="ADAL" clId="{6AB8A73D-CDEF-4FB5-9165-71445BE59506}" dt="2020-07-10T17:02:29.401" v="660" actId="12789"/>
          <ac:spMkLst>
            <pc:docMk/>
            <pc:sldMk cId="591348677" sldId="1941"/>
            <ac:spMk id="88" creationId="{3A12A346-34C2-410C-ABCD-798F03C3D29C}"/>
          </ac:spMkLst>
        </pc:spChg>
        <pc:spChg chg="mod topLvl">
          <ac:chgData name="Bantei Sangma [Chillibreeze]" userId="e7070ce9-26a8-4d3a-99f4-f2ac4567d4da" providerId="ADAL" clId="{6AB8A73D-CDEF-4FB5-9165-71445BE59506}" dt="2020-07-10T17:02:21.264" v="659" actId="12789"/>
          <ac:spMkLst>
            <pc:docMk/>
            <pc:sldMk cId="591348677" sldId="1941"/>
            <ac:spMk id="89" creationId="{1F97469C-5F05-4C39-989C-40D1985153CF}"/>
          </ac:spMkLst>
        </pc:spChg>
        <pc:grpChg chg="add del mod">
          <ac:chgData name="Bantei Sangma [Chillibreeze]" userId="e7070ce9-26a8-4d3a-99f4-f2ac4567d4da" providerId="ADAL" clId="{6AB8A73D-CDEF-4FB5-9165-71445BE59506}" dt="2020-07-10T14:35:22.449" v="494" actId="165"/>
          <ac:grpSpMkLst>
            <pc:docMk/>
            <pc:sldMk cId="591348677" sldId="1941"/>
            <ac:grpSpMk id="3" creationId="{34CA997C-8F49-492D-8F94-56FAFE87607E}"/>
          </ac:grpSpMkLst>
        </pc:grpChg>
        <pc:grpChg chg="add mod topLvl">
          <ac:chgData name="Bantei Sangma [Chillibreeze]" userId="e7070ce9-26a8-4d3a-99f4-f2ac4567d4da" providerId="ADAL" clId="{6AB8A73D-CDEF-4FB5-9165-71445BE59506}" dt="2020-07-10T17:02:29.401" v="660" actId="12789"/>
          <ac:grpSpMkLst>
            <pc:docMk/>
            <pc:sldMk cId="591348677" sldId="1941"/>
            <ac:grpSpMk id="5" creationId="{823A9B59-A20F-4394-B825-B6A3B0A960A6}"/>
          </ac:grpSpMkLst>
        </pc:grpChg>
        <pc:grpChg chg="add mod topLvl">
          <ac:chgData name="Bantei Sangma [Chillibreeze]" userId="e7070ce9-26a8-4d3a-99f4-f2ac4567d4da" providerId="ADAL" clId="{6AB8A73D-CDEF-4FB5-9165-71445BE59506}" dt="2020-07-10T17:02:42.080" v="664" actId="12789"/>
          <ac:grpSpMkLst>
            <pc:docMk/>
            <pc:sldMk cId="591348677" sldId="1941"/>
            <ac:grpSpMk id="6" creationId="{054CD304-16F2-4EAF-BF99-B79FD16A77D1}"/>
          </ac:grpSpMkLst>
        </pc:grpChg>
        <pc:grpChg chg="add del mod">
          <ac:chgData name="Bantei Sangma [Chillibreeze]" userId="e7070ce9-26a8-4d3a-99f4-f2ac4567d4da" providerId="ADAL" clId="{6AB8A73D-CDEF-4FB5-9165-71445BE59506}" dt="2020-07-10T14:36:28.702" v="520" actId="165"/>
          <ac:grpSpMkLst>
            <pc:docMk/>
            <pc:sldMk cId="591348677" sldId="1941"/>
            <ac:grpSpMk id="7" creationId="{2692043F-D88A-43BC-947C-64C310E2181C}"/>
          </ac:grpSpMkLst>
        </pc:grpChg>
        <pc:grpChg chg="add del mod">
          <ac:chgData name="Bantei Sangma [Chillibreeze]" userId="e7070ce9-26a8-4d3a-99f4-f2ac4567d4da" providerId="ADAL" clId="{6AB8A73D-CDEF-4FB5-9165-71445BE59506}" dt="2020-07-10T14:36:28.702" v="520" actId="165"/>
          <ac:grpSpMkLst>
            <pc:docMk/>
            <pc:sldMk cId="591348677" sldId="1941"/>
            <ac:grpSpMk id="9" creationId="{1226BFC8-283B-45CA-ADE7-FD7F79B72482}"/>
          </ac:grpSpMkLst>
        </pc:grpChg>
        <pc:grpChg chg="add del mod">
          <ac:chgData name="Bantei Sangma [Chillibreeze]" userId="e7070ce9-26a8-4d3a-99f4-f2ac4567d4da" providerId="ADAL" clId="{6AB8A73D-CDEF-4FB5-9165-71445BE59506}" dt="2020-07-10T14:36:28.702" v="520" actId="165"/>
          <ac:grpSpMkLst>
            <pc:docMk/>
            <pc:sldMk cId="591348677" sldId="1941"/>
            <ac:grpSpMk id="10" creationId="{F80E3A92-A586-486D-BB1B-2B098304A67D}"/>
          </ac:grpSpMkLst>
        </pc:grpChg>
        <pc:grpChg chg="add del mod">
          <ac:chgData name="Bantei Sangma [Chillibreeze]" userId="e7070ce9-26a8-4d3a-99f4-f2ac4567d4da" providerId="ADAL" clId="{6AB8A73D-CDEF-4FB5-9165-71445BE59506}" dt="2020-07-10T14:36:28.702" v="520" actId="165"/>
          <ac:grpSpMkLst>
            <pc:docMk/>
            <pc:sldMk cId="591348677" sldId="1941"/>
            <ac:grpSpMk id="11" creationId="{82B7E1B4-9860-49A1-9B84-39C597D53B7C}"/>
          </ac:grpSpMkLst>
        </pc:grpChg>
        <pc:grpChg chg="add del mod">
          <ac:chgData name="Bantei Sangma [Chillibreeze]" userId="e7070ce9-26a8-4d3a-99f4-f2ac4567d4da" providerId="ADAL" clId="{6AB8A73D-CDEF-4FB5-9165-71445BE59506}" dt="2020-07-10T14:36:28.702" v="520" actId="165"/>
          <ac:grpSpMkLst>
            <pc:docMk/>
            <pc:sldMk cId="591348677" sldId="1941"/>
            <ac:grpSpMk id="12" creationId="{46B2197F-154D-46AF-A75A-AAE02120571D}"/>
          </ac:grpSpMkLst>
        </pc:grpChg>
        <pc:grpChg chg="add del mod">
          <ac:chgData name="Bantei Sangma [Chillibreeze]" userId="e7070ce9-26a8-4d3a-99f4-f2ac4567d4da" providerId="ADAL" clId="{6AB8A73D-CDEF-4FB5-9165-71445BE59506}" dt="2020-07-10T14:36:28.702" v="520" actId="165"/>
          <ac:grpSpMkLst>
            <pc:docMk/>
            <pc:sldMk cId="591348677" sldId="1941"/>
            <ac:grpSpMk id="13" creationId="{56EDD32E-F7D0-4E30-8AB2-CFC8D0D130CE}"/>
          </ac:grpSpMkLst>
        </pc:grpChg>
        <pc:grpChg chg="add del mod">
          <ac:chgData name="Bantei Sangma [Chillibreeze]" userId="e7070ce9-26a8-4d3a-99f4-f2ac4567d4da" providerId="ADAL" clId="{6AB8A73D-CDEF-4FB5-9165-71445BE59506}" dt="2020-07-10T14:36:28.702" v="520" actId="165"/>
          <ac:grpSpMkLst>
            <pc:docMk/>
            <pc:sldMk cId="591348677" sldId="1941"/>
            <ac:grpSpMk id="14" creationId="{0B12098E-E0A5-4FA6-8860-18D446D9EE16}"/>
          </ac:grpSpMkLst>
        </pc:grpChg>
        <pc:grpChg chg="mod">
          <ac:chgData name="Bantei Sangma [Chillibreeze]" userId="e7070ce9-26a8-4d3a-99f4-f2ac4567d4da" providerId="ADAL" clId="{6AB8A73D-CDEF-4FB5-9165-71445BE59506}" dt="2020-07-10T14:36:28.702" v="520" actId="165"/>
          <ac:grpSpMkLst>
            <pc:docMk/>
            <pc:sldMk cId="591348677" sldId="1941"/>
            <ac:grpSpMk id="28" creationId="{6D966B6D-34DD-477D-8EBB-F484D5FEBFAA}"/>
          </ac:grpSpMkLst>
        </pc:grpChg>
        <pc:grpChg chg="mod">
          <ac:chgData name="Bantei Sangma [Chillibreeze]" userId="e7070ce9-26a8-4d3a-99f4-f2ac4567d4da" providerId="ADAL" clId="{6AB8A73D-CDEF-4FB5-9165-71445BE59506}" dt="2020-07-10T14:36:28.702" v="520" actId="165"/>
          <ac:grpSpMkLst>
            <pc:docMk/>
            <pc:sldMk cId="591348677" sldId="1941"/>
            <ac:grpSpMk id="33" creationId="{4E81C2DD-79ED-4BE5-97C7-7BDA6A371917}"/>
          </ac:grpSpMkLst>
        </pc:grpChg>
        <pc:grpChg chg="mod">
          <ac:chgData name="Bantei Sangma [Chillibreeze]" userId="e7070ce9-26a8-4d3a-99f4-f2ac4567d4da" providerId="ADAL" clId="{6AB8A73D-CDEF-4FB5-9165-71445BE59506}" dt="2020-07-10T14:36:28.702" v="520" actId="165"/>
          <ac:grpSpMkLst>
            <pc:docMk/>
            <pc:sldMk cId="591348677" sldId="1941"/>
            <ac:grpSpMk id="38" creationId="{338C0808-CD47-4C87-8CF4-8151E09B640E}"/>
          </ac:grpSpMkLst>
        </pc:grpChg>
        <pc:grpChg chg="mod topLvl">
          <ac:chgData name="Bantei Sangma [Chillibreeze]" userId="e7070ce9-26a8-4d3a-99f4-f2ac4567d4da" providerId="ADAL" clId="{6AB8A73D-CDEF-4FB5-9165-71445BE59506}" dt="2020-07-10T17:02:35.905" v="662" actId="12789"/>
          <ac:grpSpMkLst>
            <pc:docMk/>
            <pc:sldMk cId="591348677" sldId="1941"/>
            <ac:grpSpMk id="43" creationId="{56065B94-9F47-430C-9F3D-8D95861A87FF}"/>
          </ac:grpSpMkLst>
        </pc:grpChg>
        <pc:grpChg chg="mod">
          <ac:chgData name="Bantei Sangma [Chillibreeze]" userId="e7070ce9-26a8-4d3a-99f4-f2ac4567d4da" providerId="ADAL" clId="{6AB8A73D-CDEF-4FB5-9165-71445BE59506}" dt="2020-07-10T14:36:28.702" v="520" actId="165"/>
          <ac:grpSpMkLst>
            <pc:docMk/>
            <pc:sldMk cId="591348677" sldId="1941"/>
            <ac:grpSpMk id="44" creationId="{E9FA760B-6CCA-4F64-B91A-3FA27924F26B}"/>
          </ac:grpSpMkLst>
        </pc:grpChg>
        <pc:grpChg chg="mod">
          <ac:chgData name="Bantei Sangma [Chillibreeze]" userId="e7070ce9-26a8-4d3a-99f4-f2ac4567d4da" providerId="ADAL" clId="{6AB8A73D-CDEF-4FB5-9165-71445BE59506}" dt="2020-07-10T14:36:28.702" v="520" actId="165"/>
          <ac:grpSpMkLst>
            <pc:docMk/>
            <pc:sldMk cId="591348677" sldId="1941"/>
            <ac:grpSpMk id="49" creationId="{27EC3CB4-EB38-40F6-961B-C3DE51DDE645}"/>
          </ac:grpSpMkLst>
        </pc:grpChg>
        <pc:grpChg chg="mod">
          <ac:chgData name="Bantei Sangma [Chillibreeze]" userId="e7070ce9-26a8-4d3a-99f4-f2ac4567d4da" providerId="ADAL" clId="{6AB8A73D-CDEF-4FB5-9165-71445BE59506}" dt="2020-07-10T14:36:28.702" v="520" actId="165"/>
          <ac:grpSpMkLst>
            <pc:docMk/>
            <pc:sldMk cId="591348677" sldId="1941"/>
            <ac:grpSpMk id="54" creationId="{B88ECA00-5F59-4006-97ED-8E3BF4F43FF6}"/>
          </ac:grpSpMkLst>
        </pc:grpChg>
        <pc:grpChg chg="mod">
          <ac:chgData name="Bantei Sangma [Chillibreeze]" userId="e7070ce9-26a8-4d3a-99f4-f2ac4567d4da" providerId="ADAL" clId="{6AB8A73D-CDEF-4FB5-9165-71445BE59506}" dt="2020-07-10T14:36:28.702" v="520" actId="165"/>
          <ac:grpSpMkLst>
            <pc:docMk/>
            <pc:sldMk cId="591348677" sldId="1941"/>
            <ac:grpSpMk id="59" creationId="{0E15FAD3-6BFC-4A6B-840F-284E81E586CF}"/>
          </ac:grpSpMkLst>
        </pc:grpChg>
        <pc:grpChg chg="mod topLvl">
          <ac:chgData name="Bantei Sangma [Chillibreeze]" userId="e7070ce9-26a8-4d3a-99f4-f2ac4567d4da" providerId="ADAL" clId="{6AB8A73D-CDEF-4FB5-9165-71445BE59506}" dt="2020-07-10T17:02:38.672" v="663" actId="12789"/>
          <ac:grpSpMkLst>
            <pc:docMk/>
            <pc:sldMk cId="591348677" sldId="1941"/>
            <ac:grpSpMk id="64" creationId="{E260EF49-ACB4-475C-AE90-F58C947A3416}"/>
          </ac:grpSpMkLst>
        </pc:grpChg>
        <pc:grpChg chg="mod topLvl">
          <ac:chgData name="Bantei Sangma [Chillibreeze]" userId="e7070ce9-26a8-4d3a-99f4-f2ac4567d4da" providerId="ADAL" clId="{6AB8A73D-CDEF-4FB5-9165-71445BE59506}" dt="2020-07-10T17:02:32.625" v="661" actId="12789"/>
          <ac:grpSpMkLst>
            <pc:docMk/>
            <pc:sldMk cId="591348677" sldId="1941"/>
            <ac:grpSpMk id="73" creationId="{06CEEFC9-2315-4A1C-8A1C-AC4C78762F07}"/>
          </ac:grpSpMkLst>
        </pc:grpChg>
        <pc:grpChg chg="mod topLvl">
          <ac:chgData name="Bantei Sangma [Chillibreeze]" userId="e7070ce9-26a8-4d3a-99f4-f2ac4567d4da" providerId="ADAL" clId="{6AB8A73D-CDEF-4FB5-9165-71445BE59506}" dt="2020-07-10T17:02:21.264" v="659" actId="12789"/>
          <ac:grpSpMkLst>
            <pc:docMk/>
            <pc:sldMk cId="591348677" sldId="1941"/>
            <ac:grpSpMk id="75" creationId="{F1EFF4D0-E7FC-4436-8BE3-33D25B8D76E1}"/>
          </ac:grpSpMkLst>
        </pc:grpChg>
        <pc:grpChg chg="mod topLvl">
          <ac:chgData name="Bantei Sangma [Chillibreeze]" userId="e7070ce9-26a8-4d3a-99f4-f2ac4567d4da" providerId="ADAL" clId="{6AB8A73D-CDEF-4FB5-9165-71445BE59506}" dt="2020-07-10T17:02:45.369" v="665" actId="12789"/>
          <ac:grpSpMkLst>
            <pc:docMk/>
            <pc:sldMk cId="591348677" sldId="1941"/>
            <ac:grpSpMk id="90" creationId="{5AE2B61F-2CCA-41CB-B74F-D3F164D8C7EF}"/>
          </ac:grpSpMkLst>
        </pc:grpChg>
        <pc:picChg chg="mod">
          <ac:chgData name="Bantei Sangma [Chillibreeze]" userId="e7070ce9-26a8-4d3a-99f4-f2ac4567d4da" providerId="ADAL" clId="{6AB8A73D-CDEF-4FB5-9165-71445BE59506}" dt="2020-07-10T14:36:28.702" v="520" actId="165"/>
          <ac:picMkLst>
            <pc:docMk/>
            <pc:sldMk cId="591348677" sldId="1941"/>
            <ac:picMk id="8" creationId="{AE92A829-727C-4872-84B1-DAD238841644}"/>
          </ac:picMkLst>
        </pc:picChg>
        <pc:picChg chg="mod">
          <ac:chgData name="Bantei Sangma [Chillibreeze]" userId="e7070ce9-26a8-4d3a-99f4-f2ac4567d4da" providerId="ADAL" clId="{6AB8A73D-CDEF-4FB5-9165-71445BE59506}" dt="2020-07-10T14:36:28.702" v="520" actId="165"/>
          <ac:picMkLst>
            <pc:docMk/>
            <pc:sldMk cId="591348677" sldId="1941"/>
            <ac:picMk id="36" creationId="{243709C7-D64A-4A78-B734-EA153D7550BC}"/>
          </ac:picMkLst>
        </pc:picChg>
        <pc:picChg chg="mod">
          <ac:chgData name="Bantei Sangma [Chillibreeze]" userId="e7070ce9-26a8-4d3a-99f4-f2ac4567d4da" providerId="ADAL" clId="{6AB8A73D-CDEF-4FB5-9165-71445BE59506}" dt="2020-07-10T14:36:28.702" v="520" actId="165"/>
          <ac:picMkLst>
            <pc:docMk/>
            <pc:sldMk cId="591348677" sldId="1941"/>
            <ac:picMk id="45" creationId="{09032ECF-4D75-4F9A-A883-310398F444E2}"/>
          </ac:picMkLst>
        </pc:picChg>
        <pc:picChg chg="mod">
          <ac:chgData name="Bantei Sangma [Chillibreeze]" userId="e7070ce9-26a8-4d3a-99f4-f2ac4567d4da" providerId="ADAL" clId="{6AB8A73D-CDEF-4FB5-9165-71445BE59506}" dt="2020-07-10T14:36:28.702" v="520" actId="165"/>
          <ac:picMkLst>
            <pc:docMk/>
            <pc:sldMk cId="591348677" sldId="1941"/>
            <ac:picMk id="48" creationId="{CDA2C7DB-AE74-4E2B-8112-77BDC1222A89}"/>
          </ac:picMkLst>
        </pc:picChg>
        <pc:picChg chg="mod">
          <ac:chgData name="Bantei Sangma [Chillibreeze]" userId="e7070ce9-26a8-4d3a-99f4-f2ac4567d4da" providerId="ADAL" clId="{6AB8A73D-CDEF-4FB5-9165-71445BE59506}" dt="2020-07-10T14:36:28.702" v="520" actId="165"/>
          <ac:picMkLst>
            <pc:docMk/>
            <pc:sldMk cId="591348677" sldId="1941"/>
            <ac:picMk id="52" creationId="{4508710A-9878-46BC-99B2-DB6B987EE9E1}"/>
          </ac:picMkLst>
        </pc:picChg>
        <pc:picChg chg="mod">
          <ac:chgData name="Bantei Sangma [Chillibreeze]" userId="e7070ce9-26a8-4d3a-99f4-f2ac4567d4da" providerId="ADAL" clId="{6AB8A73D-CDEF-4FB5-9165-71445BE59506}" dt="2020-07-10T14:36:28.702" v="520" actId="165"/>
          <ac:picMkLst>
            <pc:docMk/>
            <pc:sldMk cId="591348677" sldId="1941"/>
            <ac:picMk id="53" creationId="{72AAB645-353C-48A6-9733-2E30128411C5}"/>
          </ac:picMkLst>
        </pc:picChg>
        <pc:picChg chg="mod">
          <ac:chgData name="Bantei Sangma [Chillibreeze]" userId="e7070ce9-26a8-4d3a-99f4-f2ac4567d4da" providerId="ADAL" clId="{6AB8A73D-CDEF-4FB5-9165-71445BE59506}" dt="2020-07-10T14:36:28.702" v="520" actId="165"/>
          <ac:picMkLst>
            <pc:docMk/>
            <pc:sldMk cId="591348677" sldId="1941"/>
            <ac:picMk id="62" creationId="{CA089862-3D34-4A08-B926-FF7B6F6B43C9}"/>
          </ac:picMkLst>
        </pc:picChg>
      </pc:sldChg>
      <pc:sldChg chg="modSp add mod modClrScheme chgLayout">
        <pc:chgData name="Bantei Sangma [Chillibreeze]" userId="e7070ce9-26a8-4d3a-99f4-f2ac4567d4da" providerId="ADAL" clId="{6AB8A73D-CDEF-4FB5-9165-71445BE59506}" dt="2020-07-10T12:15:16.285" v="261" actId="1076"/>
        <pc:sldMkLst>
          <pc:docMk/>
          <pc:sldMk cId="2402196036" sldId="1942"/>
        </pc:sldMkLst>
        <pc:spChg chg="mod ord">
          <ac:chgData name="Bantei Sangma [Chillibreeze]" userId="e7070ce9-26a8-4d3a-99f4-f2ac4567d4da" providerId="ADAL" clId="{6AB8A73D-CDEF-4FB5-9165-71445BE59506}" dt="2020-07-10T12:14:36.965" v="250" actId="700"/>
          <ac:spMkLst>
            <pc:docMk/>
            <pc:sldMk cId="2402196036" sldId="1942"/>
            <ac:spMk id="4" creationId="{0CD8665D-5A50-4F07-9D33-48CCD3FD74C7}"/>
          </ac:spMkLst>
        </pc:spChg>
        <pc:picChg chg="mod">
          <ac:chgData name="Bantei Sangma [Chillibreeze]" userId="e7070ce9-26a8-4d3a-99f4-f2ac4567d4da" providerId="ADAL" clId="{6AB8A73D-CDEF-4FB5-9165-71445BE59506}" dt="2020-07-10T12:15:16.285" v="261" actId="1076"/>
          <ac:picMkLst>
            <pc:docMk/>
            <pc:sldMk cId="2402196036" sldId="1942"/>
            <ac:picMk id="3" creationId="{B89D6553-01D0-458A-A370-26C78EFEBC44}"/>
          </ac:picMkLst>
        </pc:picChg>
      </pc:sldChg>
      <pc:sldChg chg="addSp modSp add mod">
        <pc:chgData name="Bantei Sangma [Chillibreeze]" userId="e7070ce9-26a8-4d3a-99f4-f2ac4567d4da" providerId="ADAL" clId="{6AB8A73D-CDEF-4FB5-9165-71445BE59506}" dt="2020-07-10T17:04:03.911" v="691" actId="1076"/>
        <pc:sldMkLst>
          <pc:docMk/>
          <pc:sldMk cId="1309834942" sldId="1943"/>
        </pc:sldMkLst>
        <pc:spChg chg="mod">
          <ac:chgData name="Bantei Sangma [Chillibreeze]" userId="e7070ce9-26a8-4d3a-99f4-f2ac4567d4da" providerId="ADAL" clId="{6AB8A73D-CDEF-4FB5-9165-71445BE59506}" dt="2020-07-10T14:36:55.839" v="521" actId="948"/>
          <ac:spMkLst>
            <pc:docMk/>
            <pc:sldMk cId="1309834942" sldId="1943"/>
            <ac:spMk id="9" creationId="{1AB8FABD-80F9-4396-BE4F-97FA84A5C605}"/>
          </ac:spMkLst>
        </pc:spChg>
        <pc:spChg chg="add mod">
          <ac:chgData name="Bantei Sangma [Chillibreeze]" userId="e7070ce9-26a8-4d3a-99f4-f2ac4567d4da" providerId="ADAL" clId="{6AB8A73D-CDEF-4FB5-9165-71445BE59506}" dt="2020-07-10T17:04:03.911" v="691" actId="1076"/>
          <ac:spMkLst>
            <pc:docMk/>
            <pc:sldMk cId="1309834942" sldId="1943"/>
            <ac:spMk id="15" creationId="{60BC454C-1CED-40FA-B429-5E2DBB126F2D}"/>
          </ac:spMkLst>
        </pc:spChg>
        <pc:grpChg chg="mod">
          <ac:chgData name="Bantei Sangma [Chillibreeze]" userId="e7070ce9-26a8-4d3a-99f4-f2ac4567d4da" providerId="ADAL" clId="{6AB8A73D-CDEF-4FB5-9165-71445BE59506}" dt="2020-07-10T12:20:45.854" v="389" actId="1076"/>
          <ac:grpSpMkLst>
            <pc:docMk/>
            <pc:sldMk cId="1309834942" sldId="1943"/>
            <ac:grpSpMk id="10" creationId="{8D9D6978-A898-4269-A408-3BF00D263C91}"/>
          </ac:grpSpMkLst>
        </pc:grpChg>
      </pc:sldChg>
      <pc:sldChg chg="addSp delSp modSp add mod">
        <pc:chgData name="Bantei Sangma [Chillibreeze]" userId="e7070ce9-26a8-4d3a-99f4-f2ac4567d4da" providerId="ADAL" clId="{6AB8A73D-CDEF-4FB5-9165-71445BE59506}" dt="2020-07-10T17:04:22.641" v="692" actId="465"/>
        <pc:sldMkLst>
          <pc:docMk/>
          <pc:sldMk cId="1091227316" sldId="1944"/>
        </pc:sldMkLst>
        <pc:spChg chg="mod">
          <ac:chgData name="Bantei Sangma [Chillibreeze]" userId="e7070ce9-26a8-4d3a-99f4-f2ac4567d4da" providerId="ADAL" clId="{6AB8A73D-CDEF-4FB5-9165-71445BE59506}" dt="2020-07-10T12:01:48.171" v="129" actId="165"/>
          <ac:spMkLst>
            <pc:docMk/>
            <pc:sldMk cId="1091227316" sldId="1944"/>
            <ac:spMk id="5" creationId="{24645D61-0558-4DE1-8BF4-562E8C90F093}"/>
          </ac:spMkLst>
        </pc:spChg>
        <pc:spChg chg="mod">
          <ac:chgData name="Bantei Sangma [Chillibreeze]" userId="e7070ce9-26a8-4d3a-99f4-f2ac4567d4da" providerId="ADAL" clId="{6AB8A73D-CDEF-4FB5-9165-71445BE59506}" dt="2020-07-10T12:01:48.171" v="129" actId="165"/>
          <ac:spMkLst>
            <pc:docMk/>
            <pc:sldMk cId="1091227316" sldId="1944"/>
            <ac:spMk id="6" creationId="{3F405C51-3726-44F7-8A09-9864993F263C}"/>
          </ac:spMkLst>
        </pc:spChg>
        <pc:spChg chg="mod topLvl">
          <ac:chgData name="Bantei Sangma [Chillibreeze]" userId="e7070ce9-26a8-4d3a-99f4-f2ac4567d4da" providerId="ADAL" clId="{6AB8A73D-CDEF-4FB5-9165-71445BE59506}" dt="2020-07-10T12:01:48.171" v="129" actId="165"/>
          <ac:spMkLst>
            <pc:docMk/>
            <pc:sldMk cId="1091227316" sldId="1944"/>
            <ac:spMk id="8" creationId="{7544243E-8E7B-4622-BB53-A2C02B6F26C0}"/>
          </ac:spMkLst>
        </pc:spChg>
        <pc:spChg chg="del mod">
          <ac:chgData name="Bantei Sangma [Chillibreeze]" userId="e7070ce9-26a8-4d3a-99f4-f2ac4567d4da" providerId="ADAL" clId="{6AB8A73D-CDEF-4FB5-9165-71445BE59506}" dt="2020-07-10T11:59:44.840" v="98" actId="478"/>
          <ac:spMkLst>
            <pc:docMk/>
            <pc:sldMk cId="1091227316" sldId="1944"/>
            <ac:spMk id="14" creationId="{296BA9E2-25F9-47AB-B060-641FDE3556BE}"/>
          </ac:spMkLst>
        </pc:spChg>
        <pc:spChg chg="del mod">
          <ac:chgData name="Bantei Sangma [Chillibreeze]" userId="e7070ce9-26a8-4d3a-99f4-f2ac4567d4da" providerId="ADAL" clId="{6AB8A73D-CDEF-4FB5-9165-71445BE59506}" dt="2020-07-10T11:59:44.840" v="98" actId="478"/>
          <ac:spMkLst>
            <pc:docMk/>
            <pc:sldMk cId="1091227316" sldId="1944"/>
            <ac:spMk id="20" creationId="{E0832817-3689-4E92-861A-775A528F8F15}"/>
          </ac:spMkLst>
        </pc:spChg>
        <pc:spChg chg="mod">
          <ac:chgData name="Bantei Sangma [Chillibreeze]" userId="e7070ce9-26a8-4d3a-99f4-f2ac4567d4da" providerId="ADAL" clId="{6AB8A73D-CDEF-4FB5-9165-71445BE59506}" dt="2020-07-10T12:01:49.250" v="130" actId="165"/>
          <ac:spMkLst>
            <pc:docMk/>
            <pc:sldMk cId="1091227316" sldId="1944"/>
            <ac:spMk id="23" creationId="{B919CCA3-9C5E-4258-955A-5C3EF103AFDE}"/>
          </ac:spMkLst>
        </pc:spChg>
        <pc:spChg chg="mod">
          <ac:chgData name="Bantei Sangma [Chillibreeze]" userId="e7070ce9-26a8-4d3a-99f4-f2ac4567d4da" providerId="ADAL" clId="{6AB8A73D-CDEF-4FB5-9165-71445BE59506}" dt="2020-07-10T12:01:49.250" v="130" actId="165"/>
          <ac:spMkLst>
            <pc:docMk/>
            <pc:sldMk cId="1091227316" sldId="1944"/>
            <ac:spMk id="24" creationId="{51C90B59-3CB2-4B0D-AC53-E5934162FA81}"/>
          </ac:spMkLst>
        </pc:spChg>
        <pc:spChg chg="mod">
          <ac:chgData name="Bantei Sangma [Chillibreeze]" userId="e7070ce9-26a8-4d3a-99f4-f2ac4567d4da" providerId="ADAL" clId="{6AB8A73D-CDEF-4FB5-9165-71445BE59506}" dt="2020-07-10T12:01:50.375" v="131" actId="165"/>
          <ac:spMkLst>
            <pc:docMk/>
            <pc:sldMk cId="1091227316" sldId="1944"/>
            <ac:spMk id="34" creationId="{5E567F55-32E6-4023-9C3D-85E7C71D0806}"/>
          </ac:spMkLst>
        </pc:spChg>
        <pc:spChg chg="mod">
          <ac:chgData name="Bantei Sangma [Chillibreeze]" userId="e7070ce9-26a8-4d3a-99f4-f2ac4567d4da" providerId="ADAL" clId="{6AB8A73D-CDEF-4FB5-9165-71445BE59506}" dt="2020-07-10T12:01:50.375" v="131" actId="165"/>
          <ac:spMkLst>
            <pc:docMk/>
            <pc:sldMk cId="1091227316" sldId="1944"/>
            <ac:spMk id="35" creationId="{F25EB60A-3640-475C-8F8D-9AD9315FF9CE}"/>
          </ac:spMkLst>
        </pc:spChg>
        <pc:spChg chg="del mod">
          <ac:chgData name="Bantei Sangma [Chillibreeze]" userId="e7070ce9-26a8-4d3a-99f4-f2ac4567d4da" providerId="ADAL" clId="{6AB8A73D-CDEF-4FB5-9165-71445BE59506}" dt="2020-07-10T12:00:07.017" v="104" actId="478"/>
          <ac:spMkLst>
            <pc:docMk/>
            <pc:sldMk cId="1091227316" sldId="1944"/>
            <ac:spMk id="44" creationId="{D0BFEEEA-38EE-4842-9A93-68126F358E3B}"/>
          </ac:spMkLst>
        </pc:spChg>
        <pc:spChg chg="mod topLvl">
          <ac:chgData name="Bantei Sangma [Chillibreeze]" userId="e7070ce9-26a8-4d3a-99f4-f2ac4567d4da" providerId="ADAL" clId="{6AB8A73D-CDEF-4FB5-9165-71445BE59506}" dt="2020-07-10T12:01:50.375" v="131" actId="165"/>
          <ac:spMkLst>
            <pc:docMk/>
            <pc:sldMk cId="1091227316" sldId="1944"/>
            <ac:spMk id="45" creationId="{61B2E846-DB08-466E-8470-56F194457A97}"/>
          </ac:spMkLst>
        </pc:spChg>
        <pc:spChg chg="mod topLvl">
          <ac:chgData name="Bantei Sangma [Chillibreeze]" userId="e7070ce9-26a8-4d3a-99f4-f2ac4567d4da" providerId="ADAL" clId="{6AB8A73D-CDEF-4FB5-9165-71445BE59506}" dt="2020-07-10T12:01:49.250" v="130" actId="165"/>
          <ac:spMkLst>
            <pc:docMk/>
            <pc:sldMk cId="1091227316" sldId="1944"/>
            <ac:spMk id="46" creationId="{BCE7C5D5-D840-4EA6-9A51-1BEE64B25B89}"/>
          </ac:spMkLst>
        </pc:spChg>
        <pc:grpChg chg="mod topLvl">
          <ac:chgData name="Bantei Sangma [Chillibreeze]" userId="e7070ce9-26a8-4d3a-99f4-f2ac4567d4da" providerId="ADAL" clId="{6AB8A73D-CDEF-4FB5-9165-71445BE59506}" dt="2020-07-10T12:01:50.375" v="131" actId="165"/>
          <ac:grpSpMkLst>
            <pc:docMk/>
            <pc:sldMk cId="1091227316" sldId="1944"/>
            <ac:grpSpMk id="3" creationId="{CD8D7CDA-85E8-4A9E-AAEF-AA5DBAA36552}"/>
          </ac:grpSpMkLst>
        </pc:grpChg>
        <pc:grpChg chg="mod">
          <ac:chgData name="Bantei Sangma [Chillibreeze]" userId="e7070ce9-26a8-4d3a-99f4-f2ac4567d4da" providerId="ADAL" clId="{6AB8A73D-CDEF-4FB5-9165-71445BE59506}" dt="2020-07-10T12:01:48.171" v="129" actId="165"/>
          <ac:grpSpMkLst>
            <pc:docMk/>
            <pc:sldMk cId="1091227316" sldId="1944"/>
            <ac:grpSpMk id="4" creationId="{521268C5-7771-4179-A10D-90A8FF131640}"/>
          </ac:grpSpMkLst>
        </pc:grpChg>
        <pc:grpChg chg="add mod topLvl">
          <ac:chgData name="Bantei Sangma [Chillibreeze]" userId="e7070ce9-26a8-4d3a-99f4-f2ac4567d4da" providerId="ADAL" clId="{6AB8A73D-CDEF-4FB5-9165-71445BE59506}" dt="2020-07-10T12:01:48.171" v="129" actId="165"/>
          <ac:grpSpMkLst>
            <pc:docMk/>
            <pc:sldMk cId="1091227316" sldId="1944"/>
            <ac:grpSpMk id="7" creationId="{C751913E-FD6A-41D2-94B0-0E356FEBF833}"/>
          </ac:grpSpMkLst>
        </pc:grpChg>
        <pc:grpChg chg="del mod">
          <ac:chgData name="Bantei Sangma [Chillibreeze]" userId="e7070ce9-26a8-4d3a-99f4-f2ac4567d4da" providerId="ADAL" clId="{6AB8A73D-CDEF-4FB5-9165-71445BE59506}" dt="2020-07-10T11:59:21.965" v="91" actId="478"/>
          <ac:grpSpMkLst>
            <pc:docMk/>
            <pc:sldMk cId="1091227316" sldId="1944"/>
            <ac:grpSpMk id="10" creationId="{4B00DF10-36DE-46FC-B58D-BC9E1FD19254}"/>
          </ac:grpSpMkLst>
        </pc:grpChg>
        <pc:grpChg chg="add mod topLvl">
          <ac:chgData name="Bantei Sangma [Chillibreeze]" userId="e7070ce9-26a8-4d3a-99f4-f2ac4567d4da" providerId="ADAL" clId="{6AB8A73D-CDEF-4FB5-9165-71445BE59506}" dt="2020-07-10T12:01:49.250" v="130" actId="165"/>
          <ac:grpSpMkLst>
            <pc:docMk/>
            <pc:sldMk cId="1091227316" sldId="1944"/>
            <ac:grpSpMk id="13" creationId="{1B13FDD3-FD87-43C8-9662-016D28A2E586}"/>
          </ac:grpSpMkLst>
        </pc:grpChg>
        <pc:grpChg chg="del mod">
          <ac:chgData name="Bantei Sangma [Chillibreeze]" userId="e7070ce9-26a8-4d3a-99f4-f2ac4567d4da" providerId="ADAL" clId="{6AB8A73D-CDEF-4FB5-9165-71445BE59506}" dt="2020-07-10T11:59:21.965" v="91" actId="478"/>
          <ac:grpSpMkLst>
            <pc:docMk/>
            <pc:sldMk cId="1091227316" sldId="1944"/>
            <ac:grpSpMk id="16" creationId="{AD0E8488-9DDD-41E3-9EB8-749340D4D687}"/>
          </ac:grpSpMkLst>
        </pc:grpChg>
        <pc:grpChg chg="add del mod">
          <ac:chgData name="Bantei Sangma [Chillibreeze]" userId="e7070ce9-26a8-4d3a-99f4-f2ac4567d4da" providerId="ADAL" clId="{6AB8A73D-CDEF-4FB5-9165-71445BE59506}" dt="2020-07-10T12:01:49.250" v="130" actId="165"/>
          <ac:grpSpMkLst>
            <pc:docMk/>
            <pc:sldMk cId="1091227316" sldId="1944"/>
            <ac:grpSpMk id="19" creationId="{A2F7719B-D582-4E55-8138-64404F040768}"/>
          </ac:grpSpMkLst>
        </pc:grpChg>
        <pc:grpChg chg="mod">
          <ac:chgData name="Bantei Sangma [Chillibreeze]" userId="e7070ce9-26a8-4d3a-99f4-f2ac4567d4da" providerId="ADAL" clId="{6AB8A73D-CDEF-4FB5-9165-71445BE59506}" dt="2020-07-10T12:01:49.250" v="130" actId="165"/>
          <ac:grpSpMkLst>
            <pc:docMk/>
            <pc:sldMk cId="1091227316" sldId="1944"/>
            <ac:grpSpMk id="22" creationId="{5F5E1208-C006-4CC9-B79E-FED84429381D}"/>
          </ac:grpSpMkLst>
        </pc:grpChg>
        <pc:grpChg chg="add del mod">
          <ac:chgData name="Bantei Sangma [Chillibreeze]" userId="e7070ce9-26a8-4d3a-99f4-f2ac4567d4da" providerId="ADAL" clId="{6AB8A73D-CDEF-4FB5-9165-71445BE59506}" dt="2020-07-10T12:01:50.375" v="131" actId="165"/>
          <ac:grpSpMkLst>
            <pc:docMk/>
            <pc:sldMk cId="1091227316" sldId="1944"/>
            <ac:grpSpMk id="25" creationId="{8717EBA7-5C8A-4F3B-BD61-83C945D4F42B}"/>
          </ac:grpSpMkLst>
        </pc:grpChg>
        <pc:grpChg chg="add del mod">
          <ac:chgData name="Bantei Sangma [Chillibreeze]" userId="e7070ce9-26a8-4d3a-99f4-f2ac4567d4da" providerId="ADAL" clId="{6AB8A73D-CDEF-4FB5-9165-71445BE59506}" dt="2020-07-10T12:01:48.171" v="129" actId="165"/>
          <ac:grpSpMkLst>
            <pc:docMk/>
            <pc:sldMk cId="1091227316" sldId="1944"/>
            <ac:grpSpMk id="26" creationId="{259CB393-2DF6-47B2-83BD-7DEAA34B3490}"/>
          </ac:grpSpMkLst>
        </pc:grpChg>
        <pc:grpChg chg="mod">
          <ac:chgData name="Bantei Sangma [Chillibreeze]" userId="e7070ce9-26a8-4d3a-99f4-f2ac4567d4da" providerId="ADAL" clId="{6AB8A73D-CDEF-4FB5-9165-71445BE59506}" dt="2020-07-10T12:01:50.375" v="131" actId="165"/>
          <ac:grpSpMkLst>
            <pc:docMk/>
            <pc:sldMk cId="1091227316" sldId="1944"/>
            <ac:grpSpMk id="32" creationId="{1612EEBA-46BD-481A-AEC0-226D0B181C22}"/>
          </ac:grpSpMkLst>
        </pc:grpChg>
        <pc:picChg chg="mod">
          <ac:chgData name="Bantei Sangma [Chillibreeze]" userId="e7070ce9-26a8-4d3a-99f4-f2ac4567d4da" providerId="ADAL" clId="{6AB8A73D-CDEF-4FB5-9165-71445BE59506}" dt="2020-07-10T12:01:48.171" v="129" actId="165"/>
          <ac:picMkLst>
            <pc:docMk/>
            <pc:sldMk cId="1091227316" sldId="1944"/>
            <ac:picMk id="38" creationId="{855C11F8-CAA8-492F-B38A-F304D99EE204}"/>
          </ac:picMkLst>
        </pc:picChg>
        <pc:picChg chg="del mod">
          <ac:chgData name="Bantei Sangma [Chillibreeze]" userId="e7070ce9-26a8-4d3a-99f4-f2ac4567d4da" providerId="ADAL" clId="{6AB8A73D-CDEF-4FB5-9165-71445BE59506}" dt="2020-07-10T11:59:21.965" v="91" actId="478"/>
          <ac:picMkLst>
            <pc:docMk/>
            <pc:sldMk cId="1091227316" sldId="1944"/>
            <ac:picMk id="39" creationId="{4EFAD49A-6142-4EBB-ACC4-5805146DB165}"/>
          </ac:picMkLst>
        </pc:picChg>
        <pc:picChg chg="mod">
          <ac:chgData name="Bantei Sangma [Chillibreeze]" userId="e7070ce9-26a8-4d3a-99f4-f2ac4567d4da" providerId="ADAL" clId="{6AB8A73D-CDEF-4FB5-9165-71445BE59506}" dt="2020-07-10T12:01:49.250" v="130" actId="165"/>
          <ac:picMkLst>
            <pc:docMk/>
            <pc:sldMk cId="1091227316" sldId="1944"/>
            <ac:picMk id="40" creationId="{2EF2EB5F-C985-447C-A455-9A1898B63703}"/>
          </ac:picMkLst>
        </pc:picChg>
        <pc:picChg chg="del mod">
          <ac:chgData name="Bantei Sangma [Chillibreeze]" userId="e7070ce9-26a8-4d3a-99f4-f2ac4567d4da" providerId="ADAL" clId="{6AB8A73D-CDEF-4FB5-9165-71445BE59506}" dt="2020-07-10T11:59:21.965" v="91" actId="478"/>
          <ac:picMkLst>
            <pc:docMk/>
            <pc:sldMk cId="1091227316" sldId="1944"/>
            <ac:picMk id="42" creationId="{3D9CFB3C-D061-4570-9F4E-04484390B1EC}"/>
          </ac:picMkLst>
        </pc:picChg>
        <pc:picChg chg="mod">
          <ac:chgData name="Bantei Sangma [Chillibreeze]" userId="e7070ce9-26a8-4d3a-99f4-f2ac4567d4da" providerId="ADAL" clId="{6AB8A73D-CDEF-4FB5-9165-71445BE59506}" dt="2020-07-10T12:01:50.375" v="131" actId="165"/>
          <ac:picMkLst>
            <pc:docMk/>
            <pc:sldMk cId="1091227316" sldId="1944"/>
            <ac:picMk id="43" creationId="{4F5F7392-2196-456B-8FFD-6AD825A22C0C}"/>
          </ac:picMkLst>
        </pc:picChg>
        <pc:cxnChg chg="del mod">
          <ac:chgData name="Bantei Sangma [Chillibreeze]" userId="e7070ce9-26a8-4d3a-99f4-f2ac4567d4da" providerId="ADAL" clId="{6AB8A73D-CDEF-4FB5-9165-71445BE59506}" dt="2020-07-10T11:59:44.840" v="98" actId="478"/>
          <ac:cxnSpMkLst>
            <pc:docMk/>
            <pc:sldMk cId="1091227316" sldId="1944"/>
            <ac:cxnSpMk id="9" creationId="{26A94D91-4AB8-403C-8371-7041B67914CA}"/>
          </ac:cxnSpMkLst>
        </pc:cxnChg>
        <pc:cxnChg chg="del mod">
          <ac:chgData name="Bantei Sangma [Chillibreeze]" userId="e7070ce9-26a8-4d3a-99f4-f2ac4567d4da" providerId="ADAL" clId="{6AB8A73D-CDEF-4FB5-9165-71445BE59506}" dt="2020-07-10T11:59:45.568" v="99" actId="478"/>
          <ac:cxnSpMkLst>
            <pc:docMk/>
            <pc:sldMk cId="1091227316" sldId="1944"/>
            <ac:cxnSpMk id="15" creationId="{B4669462-AEA8-4B67-84FE-C0A90B0BF7F2}"/>
          </ac:cxnSpMkLst>
        </pc:cxnChg>
        <pc:cxnChg chg="mod">
          <ac:chgData name="Bantei Sangma [Chillibreeze]" userId="e7070ce9-26a8-4d3a-99f4-f2ac4567d4da" providerId="ADAL" clId="{6AB8A73D-CDEF-4FB5-9165-71445BE59506}" dt="2020-07-10T12:01:43.207" v="128" actId="465"/>
          <ac:cxnSpMkLst>
            <pc:docMk/>
            <pc:sldMk cId="1091227316" sldId="1944"/>
            <ac:cxnSpMk id="21" creationId="{90299F12-77C2-4A4F-B1BA-DC3F7874C987}"/>
          </ac:cxnSpMkLst>
        </pc:cxnChg>
        <pc:cxnChg chg="mod">
          <ac:chgData name="Bantei Sangma [Chillibreeze]" userId="e7070ce9-26a8-4d3a-99f4-f2ac4567d4da" providerId="ADAL" clId="{6AB8A73D-CDEF-4FB5-9165-71445BE59506}" dt="2020-07-10T17:04:22.641" v="692" actId="465"/>
          <ac:cxnSpMkLst>
            <pc:docMk/>
            <pc:sldMk cId="1091227316" sldId="1944"/>
            <ac:cxnSpMk id="41" creationId="{FCCF6FB2-2624-4E78-9F4E-37B2472C2560}"/>
          </ac:cxnSpMkLst>
        </pc:cxnChg>
      </pc:sldChg>
      <pc:sldChg chg="addSp delSp modSp add mod">
        <pc:chgData name="Bantei Sangma [Chillibreeze]" userId="e7070ce9-26a8-4d3a-99f4-f2ac4567d4da" providerId="ADAL" clId="{6AB8A73D-CDEF-4FB5-9165-71445BE59506}" dt="2020-07-10T17:05:39.277" v="709" actId="20577"/>
        <pc:sldMkLst>
          <pc:docMk/>
          <pc:sldMk cId="3389964135" sldId="1945"/>
        </pc:sldMkLst>
        <pc:spChg chg="mod">
          <ac:chgData name="Bantei Sangma [Chillibreeze]" userId="e7070ce9-26a8-4d3a-99f4-f2ac4567d4da" providerId="ADAL" clId="{6AB8A73D-CDEF-4FB5-9165-71445BE59506}" dt="2020-07-10T17:05:39.277" v="709" actId="20577"/>
          <ac:spMkLst>
            <pc:docMk/>
            <pc:sldMk cId="3389964135" sldId="1945"/>
            <ac:spMk id="2" creationId="{24401EBD-ED19-4075-B5B2-90C51472964A}"/>
          </ac:spMkLst>
        </pc:spChg>
        <pc:spChg chg="add del mod">
          <ac:chgData name="Bantei Sangma [Chillibreeze]" userId="e7070ce9-26a8-4d3a-99f4-f2ac4567d4da" providerId="ADAL" clId="{6AB8A73D-CDEF-4FB5-9165-71445BE59506}" dt="2020-07-10T12:02:58.797" v="140" actId="478"/>
          <ac:spMkLst>
            <pc:docMk/>
            <pc:sldMk cId="3389964135" sldId="1945"/>
            <ac:spMk id="34" creationId="{7557BD18-5DDD-4EC6-9C23-A67EFF178C77}"/>
          </ac:spMkLst>
        </pc:spChg>
        <pc:spChg chg="add del mod">
          <ac:chgData name="Bantei Sangma [Chillibreeze]" userId="e7070ce9-26a8-4d3a-99f4-f2ac4567d4da" providerId="ADAL" clId="{6AB8A73D-CDEF-4FB5-9165-71445BE59506}" dt="2020-07-10T12:03:18.647" v="142" actId="478"/>
          <ac:spMkLst>
            <pc:docMk/>
            <pc:sldMk cId="3389964135" sldId="1945"/>
            <ac:spMk id="37" creationId="{81EAF0F0-0081-4875-B652-3C90A14F0FE2}"/>
          </ac:spMkLst>
        </pc:spChg>
        <pc:spChg chg="add mod">
          <ac:chgData name="Bantei Sangma [Chillibreeze]" userId="e7070ce9-26a8-4d3a-99f4-f2ac4567d4da" providerId="ADAL" clId="{6AB8A73D-CDEF-4FB5-9165-71445BE59506}" dt="2020-07-10T12:05:10.845" v="164" actId="948"/>
          <ac:spMkLst>
            <pc:docMk/>
            <pc:sldMk cId="3389964135" sldId="1945"/>
            <ac:spMk id="38" creationId="{8B2B666E-5AC6-43F4-941C-D4B9053E9EAC}"/>
          </ac:spMkLst>
        </pc:spChg>
        <pc:spChg chg="add mod">
          <ac:chgData name="Bantei Sangma [Chillibreeze]" userId="e7070ce9-26a8-4d3a-99f4-f2ac4567d4da" providerId="ADAL" clId="{6AB8A73D-CDEF-4FB5-9165-71445BE59506}" dt="2020-07-10T12:05:13.110" v="165" actId="948"/>
          <ac:spMkLst>
            <pc:docMk/>
            <pc:sldMk cId="3389964135" sldId="1945"/>
            <ac:spMk id="39" creationId="{01EEEE1F-7E86-462B-AFC3-733FED924611}"/>
          </ac:spMkLst>
        </pc:spChg>
        <pc:grpChg chg="del mod">
          <ac:chgData name="Bantei Sangma [Chillibreeze]" userId="e7070ce9-26a8-4d3a-99f4-f2ac4567d4da" providerId="ADAL" clId="{6AB8A73D-CDEF-4FB5-9165-71445BE59506}" dt="2020-07-10T12:04:28.064" v="161" actId="478"/>
          <ac:grpSpMkLst>
            <pc:docMk/>
            <pc:sldMk cId="3389964135" sldId="1945"/>
            <ac:grpSpMk id="32" creationId="{DCFA2090-D646-4E3E-A050-D04E79B44E5A}"/>
          </ac:grpSpMkLst>
        </pc:grpChg>
        <pc:grpChg chg="del mod">
          <ac:chgData name="Bantei Sangma [Chillibreeze]" userId="e7070ce9-26a8-4d3a-99f4-f2ac4567d4da" providerId="ADAL" clId="{6AB8A73D-CDEF-4FB5-9165-71445BE59506}" dt="2020-07-10T12:04:28.064" v="161" actId="478"/>
          <ac:grpSpMkLst>
            <pc:docMk/>
            <pc:sldMk cId="3389964135" sldId="1945"/>
            <ac:grpSpMk id="33" creationId="{7D6B76D3-0107-4B4E-97EE-7F033F50C191}"/>
          </ac:grpSpMkLst>
        </pc:grpChg>
        <pc:grpChg chg="del mod">
          <ac:chgData name="Bantei Sangma [Chillibreeze]" userId="e7070ce9-26a8-4d3a-99f4-f2ac4567d4da" providerId="ADAL" clId="{6AB8A73D-CDEF-4FB5-9165-71445BE59506}" dt="2020-07-10T12:04:28.064" v="161" actId="478"/>
          <ac:grpSpMkLst>
            <pc:docMk/>
            <pc:sldMk cId="3389964135" sldId="1945"/>
            <ac:grpSpMk id="35" creationId="{2C8B1150-3265-4B06-A711-4BCB5D50931A}"/>
          </ac:grpSpMkLst>
        </pc:grpChg>
        <pc:grpChg chg="del mod">
          <ac:chgData name="Bantei Sangma [Chillibreeze]" userId="e7070ce9-26a8-4d3a-99f4-f2ac4567d4da" providerId="ADAL" clId="{6AB8A73D-CDEF-4FB5-9165-71445BE59506}" dt="2020-07-10T12:04:28.064" v="161" actId="478"/>
          <ac:grpSpMkLst>
            <pc:docMk/>
            <pc:sldMk cId="3389964135" sldId="1945"/>
            <ac:grpSpMk id="36" creationId="{30D464E8-F4B5-4D46-97E1-4FF5299A2319}"/>
          </ac:grpSpMkLst>
        </pc:grpChg>
        <pc:cxnChg chg="del mod">
          <ac:chgData name="Bantei Sangma [Chillibreeze]" userId="e7070ce9-26a8-4d3a-99f4-f2ac4567d4da" providerId="ADAL" clId="{6AB8A73D-CDEF-4FB5-9165-71445BE59506}" dt="2020-07-10T12:04:28.064" v="161" actId="478"/>
          <ac:cxnSpMkLst>
            <pc:docMk/>
            <pc:sldMk cId="3389964135" sldId="1945"/>
            <ac:cxnSpMk id="9" creationId="{BC5B050A-CB71-4C4B-9C73-EC3951888BBC}"/>
          </ac:cxnSpMkLst>
        </pc:cxnChg>
        <pc:cxnChg chg="del mod">
          <ac:chgData name="Bantei Sangma [Chillibreeze]" userId="e7070ce9-26a8-4d3a-99f4-f2ac4567d4da" providerId="ADAL" clId="{6AB8A73D-CDEF-4FB5-9165-71445BE59506}" dt="2020-07-10T12:04:28.064" v="161" actId="478"/>
          <ac:cxnSpMkLst>
            <pc:docMk/>
            <pc:sldMk cId="3389964135" sldId="1945"/>
            <ac:cxnSpMk id="15" creationId="{B5A7DC38-6605-44A4-A201-43D7ED0E6669}"/>
          </ac:cxnSpMkLst>
        </pc:cxnChg>
        <pc:cxnChg chg="del mod">
          <ac:chgData name="Bantei Sangma [Chillibreeze]" userId="e7070ce9-26a8-4d3a-99f4-f2ac4567d4da" providerId="ADAL" clId="{6AB8A73D-CDEF-4FB5-9165-71445BE59506}" dt="2020-07-10T12:04:28.064" v="161" actId="478"/>
          <ac:cxnSpMkLst>
            <pc:docMk/>
            <pc:sldMk cId="3389964135" sldId="1945"/>
            <ac:cxnSpMk id="21" creationId="{81D85C89-4E98-42A8-AF26-61FD86FFAAA2}"/>
          </ac:cxnSpMkLst>
        </pc:cxnChg>
      </pc:sldChg>
      <pc:sldChg chg="modSp add mod">
        <pc:chgData name="Bantei Sangma [Chillibreeze]" userId="e7070ce9-26a8-4d3a-99f4-f2ac4567d4da" providerId="ADAL" clId="{6AB8A73D-CDEF-4FB5-9165-71445BE59506}" dt="2020-07-10T17:05:25.940" v="703" actId="208"/>
        <pc:sldMkLst>
          <pc:docMk/>
          <pc:sldMk cId="2496113293" sldId="1946"/>
        </pc:sldMkLst>
        <pc:spChg chg="mod">
          <ac:chgData name="Bantei Sangma [Chillibreeze]" userId="e7070ce9-26a8-4d3a-99f4-f2ac4567d4da" providerId="ADAL" clId="{6AB8A73D-CDEF-4FB5-9165-71445BE59506}" dt="2020-07-10T17:05:16.768" v="702" actId="403"/>
          <ac:spMkLst>
            <pc:docMk/>
            <pc:sldMk cId="2496113293" sldId="1946"/>
            <ac:spMk id="3" creationId="{DF303757-AE7D-45FF-97BC-3499A68152E2}"/>
          </ac:spMkLst>
        </pc:spChg>
        <pc:spChg chg="mod">
          <ac:chgData name="Bantei Sangma [Chillibreeze]" userId="e7070ce9-26a8-4d3a-99f4-f2ac4567d4da" providerId="ADAL" clId="{6AB8A73D-CDEF-4FB5-9165-71445BE59506}" dt="2020-07-10T17:05:00.266" v="699" actId="2711"/>
          <ac:spMkLst>
            <pc:docMk/>
            <pc:sldMk cId="2496113293" sldId="1946"/>
            <ac:spMk id="5" creationId="{6A65032E-C239-46AC-804F-8326EE47CF22}"/>
          </ac:spMkLst>
        </pc:spChg>
        <pc:picChg chg="mod">
          <ac:chgData name="Bantei Sangma [Chillibreeze]" userId="e7070ce9-26a8-4d3a-99f4-f2ac4567d4da" providerId="ADAL" clId="{6AB8A73D-CDEF-4FB5-9165-71445BE59506}" dt="2020-07-10T17:05:25.940" v="703" actId="208"/>
          <ac:picMkLst>
            <pc:docMk/>
            <pc:sldMk cId="2496113293" sldId="1946"/>
            <ac:picMk id="4" creationId="{5F47861D-292F-4FAA-A2F1-41DC31E37ECC}"/>
          </ac:picMkLst>
        </pc:picChg>
      </pc:sldChg>
      <pc:sldChg chg="modSp add mod">
        <pc:chgData name="Bantei Sangma [Chillibreeze]" userId="e7070ce9-26a8-4d3a-99f4-f2ac4567d4da" providerId="ADAL" clId="{6AB8A73D-CDEF-4FB5-9165-71445BE59506}" dt="2020-07-10T17:06:04.478" v="711" actId="1076"/>
        <pc:sldMkLst>
          <pc:docMk/>
          <pc:sldMk cId="397689141" sldId="1947"/>
        </pc:sldMkLst>
        <pc:spChg chg="mod">
          <ac:chgData name="Bantei Sangma [Chillibreeze]" userId="e7070ce9-26a8-4d3a-99f4-f2ac4567d4da" providerId="ADAL" clId="{6AB8A73D-CDEF-4FB5-9165-71445BE59506}" dt="2020-07-10T17:06:04.478" v="711" actId="1076"/>
          <ac:spMkLst>
            <pc:docMk/>
            <pc:sldMk cId="397689141" sldId="1947"/>
            <ac:spMk id="4" creationId="{FD483274-C30B-45CD-B638-369AC843DEF0}"/>
          </ac:spMkLst>
        </pc:spChg>
      </pc:sldChg>
      <pc:sldChg chg="modSp add mod">
        <pc:chgData name="Bantei Sangma [Chillibreeze]" userId="e7070ce9-26a8-4d3a-99f4-f2ac4567d4da" providerId="ADAL" clId="{6AB8A73D-CDEF-4FB5-9165-71445BE59506}" dt="2020-07-10T12:08:33.398" v="198" actId="948"/>
        <pc:sldMkLst>
          <pc:docMk/>
          <pc:sldMk cId="2103919476" sldId="1948"/>
        </pc:sldMkLst>
        <pc:spChg chg="mod">
          <ac:chgData name="Bantei Sangma [Chillibreeze]" userId="e7070ce9-26a8-4d3a-99f4-f2ac4567d4da" providerId="ADAL" clId="{6AB8A73D-CDEF-4FB5-9165-71445BE59506}" dt="2020-07-10T12:08:33.398" v="198" actId="948"/>
          <ac:spMkLst>
            <pc:docMk/>
            <pc:sldMk cId="2103919476" sldId="1948"/>
            <ac:spMk id="4" creationId="{A350C712-DF90-48D7-AF99-33CA7708B8E6}"/>
          </ac:spMkLst>
        </pc:spChg>
      </pc:sldChg>
      <pc:sldChg chg="modSp add mod modClrScheme chgLayout">
        <pc:chgData name="Bantei Sangma [Chillibreeze]" userId="e7070ce9-26a8-4d3a-99f4-f2ac4567d4da" providerId="ADAL" clId="{6AB8A73D-CDEF-4FB5-9165-71445BE59506}" dt="2020-07-10T12:15:22.645" v="263" actId="1076"/>
        <pc:sldMkLst>
          <pc:docMk/>
          <pc:sldMk cId="1024414060" sldId="1949"/>
        </pc:sldMkLst>
        <pc:spChg chg="mod ord">
          <ac:chgData name="Bantei Sangma [Chillibreeze]" userId="e7070ce9-26a8-4d3a-99f4-f2ac4567d4da" providerId="ADAL" clId="{6AB8A73D-CDEF-4FB5-9165-71445BE59506}" dt="2020-07-10T12:14:40.223" v="251" actId="700"/>
          <ac:spMkLst>
            <pc:docMk/>
            <pc:sldMk cId="1024414060" sldId="1949"/>
            <ac:spMk id="4" creationId="{0CD8665D-5A50-4F07-9D33-48CCD3FD74C7}"/>
          </ac:spMkLst>
        </pc:spChg>
        <pc:picChg chg="mod">
          <ac:chgData name="Bantei Sangma [Chillibreeze]" userId="e7070ce9-26a8-4d3a-99f4-f2ac4567d4da" providerId="ADAL" clId="{6AB8A73D-CDEF-4FB5-9165-71445BE59506}" dt="2020-07-10T12:15:22.645" v="263" actId="1076"/>
          <ac:picMkLst>
            <pc:docMk/>
            <pc:sldMk cId="1024414060" sldId="1949"/>
            <ac:picMk id="3" creationId="{E8D55B3C-B03B-43C6-94C9-0A65D2B8E6A5}"/>
          </ac:picMkLst>
        </pc:picChg>
      </pc:sldChg>
      <pc:sldChg chg="addSp delSp modSp add mod">
        <pc:chgData name="Bantei Sangma [Chillibreeze]" userId="e7070ce9-26a8-4d3a-99f4-f2ac4567d4da" providerId="ADAL" clId="{6AB8A73D-CDEF-4FB5-9165-71445BE59506}" dt="2020-07-10T17:06:57.077" v="715" actId="20577"/>
        <pc:sldMkLst>
          <pc:docMk/>
          <pc:sldMk cId="2334485022" sldId="1950"/>
        </pc:sldMkLst>
        <pc:spChg chg="mod">
          <ac:chgData name="Bantei Sangma [Chillibreeze]" userId="e7070ce9-26a8-4d3a-99f4-f2ac4567d4da" providerId="ADAL" clId="{6AB8A73D-CDEF-4FB5-9165-71445BE59506}" dt="2020-07-10T17:06:57.077" v="715" actId="20577"/>
          <ac:spMkLst>
            <pc:docMk/>
            <pc:sldMk cId="2334485022" sldId="1950"/>
            <ac:spMk id="2" creationId="{5EE9844D-7543-4B89-A10F-D42A46F7CFF0}"/>
          </ac:spMkLst>
        </pc:spChg>
        <pc:spChg chg="del mod">
          <ac:chgData name="Bantei Sangma [Chillibreeze]" userId="e7070ce9-26a8-4d3a-99f4-f2ac4567d4da" providerId="ADAL" clId="{6AB8A73D-CDEF-4FB5-9165-71445BE59506}" dt="2020-07-10T12:11:52.633" v="226" actId="478"/>
          <ac:spMkLst>
            <pc:docMk/>
            <pc:sldMk cId="2334485022" sldId="1950"/>
            <ac:spMk id="32" creationId="{AFA561C2-85BC-46B3-9E16-B7889B47D4A5}"/>
          </ac:spMkLst>
        </pc:spChg>
        <pc:spChg chg="del mod">
          <ac:chgData name="Bantei Sangma [Chillibreeze]" userId="e7070ce9-26a8-4d3a-99f4-f2ac4567d4da" providerId="ADAL" clId="{6AB8A73D-CDEF-4FB5-9165-71445BE59506}" dt="2020-07-10T12:11:52.633" v="226" actId="478"/>
          <ac:spMkLst>
            <pc:docMk/>
            <pc:sldMk cId="2334485022" sldId="1950"/>
            <ac:spMk id="40" creationId="{623DFB2C-ABB2-49AB-BB1F-A7EA4F30F67E}"/>
          </ac:spMkLst>
        </pc:spChg>
        <pc:spChg chg="add mod">
          <ac:chgData name="Bantei Sangma [Chillibreeze]" userId="e7070ce9-26a8-4d3a-99f4-f2ac4567d4da" providerId="ADAL" clId="{6AB8A73D-CDEF-4FB5-9165-71445BE59506}" dt="2020-07-10T14:38:05.350" v="522" actId="57"/>
          <ac:spMkLst>
            <pc:docMk/>
            <pc:sldMk cId="2334485022" sldId="1950"/>
            <ac:spMk id="44" creationId="{A6932B66-3911-43CD-BB70-13C6E830C9B9}"/>
          </ac:spMkLst>
        </pc:spChg>
        <pc:spChg chg="del mod">
          <ac:chgData name="Bantei Sangma [Chillibreeze]" userId="e7070ce9-26a8-4d3a-99f4-f2ac4567d4da" providerId="ADAL" clId="{6AB8A73D-CDEF-4FB5-9165-71445BE59506}" dt="2020-07-10T12:11:52.633" v="226" actId="478"/>
          <ac:spMkLst>
            <pc:docMk/>
            <pc:sldMk cId="2334485022" sldId="1950"/>
            <ac:spMk id="45" creationId="{CB547A62-5175-4D2F-9B26-009D2BE89ABB}"/>
          </ac:spMkLst>
        </pc:spChg>
        <pc:spChg chg="del mod">
          <ac:chgData name="Bantei Sangma [Chillibreeze]" userId="e7070ce9-26a8-4d3a-99f4-f2ac4567d4da" providerId="ADAL" clId="{6AB8A73D-CDEF-4FB5-9165-71445BE59506}" dt="2020-07-10T12:11:52.633" v="226" actId="478"/>
          <ac:spMkLst>
            <pc:docMk/>
            <pc:sldMk cId="2334485022" sldId="1950"/>
            <ac:spMk id="51" creationId="{D7E887CB-A9C4-4907-B092-FF1F1F41F56C}"/>
          </ac:spMkLst>
        </pc:spChg>
        <pc:spChg chg="del mod">
          <ac:chgData name="Bantei Sangma [Chillibreeze]" userId="e7070ce9-26a8-4d3a-99f4-f2ac4567d4da" providerId="ADAL" clId="{6AB8A73D-CDEF-4FB5-9165-71445BE59506}" dt="2020-07-10T12:11:52.633" v="226" actId="478"/>
          <ac:spMkLst>
            <pc:docMk/>
            <pc:sldMk cId="2334485022" sldId="1950"/>
            <ac:spMk id="57" creationId="{6C913F2F-D698-43CA-83CB-B7C810D35465}"/>
          </ac:spMkLst>
        </pc:spChg>
        <pc:spChg chg="del mod">
          <ac:chgData name="Bantei Sangma [Chillibreeze]" userId="e7070ce9-26a8-4d3a-99f4-f2ac4567d4da" providerId="ADAL" clId="{6AB8A73D-CDEF-4FB5-9165-71445BE59506}" dt="2020-07-10T12:11:52.633" v="226" actId="478"/>
          <ac:spMkLst>
            <pc:docMk/>
            <pc:sldMk cId="2334485022" sldId="1950"/>
            <ac:spMk id="63" creationId="{B6737C3D-25AE-4BA6-93D3-4261936EA1B5}"/>
          </ac:spMkLst>
        </pc:spChg>
        <pc:spChg chg="mod">
          <ac:chgData name="Bantei Sangma [Chillibreeze]" userId="e7070ce9-26a8-4d3a-99f4-f2ac4567d4da" providerId="ADAL" clId="{6AB8A73D-CDEF-4FB5-9165-71445BE59506}" dt="2020-07-10T12:09:55.480" v="200"/>
          <ac:spMkLst>
            <pc:docMk/>
            <pc:sldMk cId="2334485022" sldId="1950"/>
            <ac:spMk id="64" creationId="{33FE5EB4-FCD9-4118-90BD-AB76A6464AD4}"/>
          </ac:spMkLst>
        </pc:spChg>
        <pc:spChg chg="mod">
          <ac:chgData name="Bantei Sangma [Chillibreeze]" userId="e7070ce9-26a8-4d3a-99f4-f2ac4567d4da" providerId="ADAL" clId="{6AB8A73D-CDEF-4FB5-9165-71445BE59506}" dt="2020-07-10T12:09:55.480" v="200"/>
          <ac:spMkLst>
            <pc:docMk/>
            <pc:sldMk cId="2334485022" sldId="1950"/>
            <ac:spMk id="65" creationId="{D80C8530-85EB-4876-9A7C-C87FF18D8649}"/>
          </ac:spMkLst>
        </pc:spChg>
        <pc:spChg chg="add mod">
          <ac:chgData name="Bantei Sangma [Chillibreeze]" userId="e7070ce9-26a8-4d3a-99f4-f2ac4567d4da" providerId="ADAL" clId="{6AB8A73D-CDEF-4FB5-9165-71445BE59506}" dt="2020-07-10T12:11:57.151" v="229" actId="552"/>
          <ac:spMkLst>
            <pc:docMk/>
            <pc:sldMk cId="2334485022" sldId="1950"/>
            <ac:spMk id="66" creationId="{AD3F0406-9A7B-4F25-8A95-D14D93FCE9ED}"/>
          </ac:spMkLst>
        </pc:spChg>
        <pc:spChg chg="mod">
          <ac:chgData name="Bantei Sangma [Chillibreeze]" userId="e7070ce9-26a8-4d3a-99f4-f2ac4567d4da" providerId="ADAL" clId="{6AB8A73D-CDEF-4FB5-9165-71445BE59506}" dt="2020-07-10T12:09:55.480" v="200"/>
          <ac:spMkLst>
            <pc:docMk/>
            <pc:sldMk cId="2334485022" sldId="1950"/>
            <ac:spMk id="70" creationId="{F373240A-92A3-481C-BEF4-AF9F63EC2B84}"/>
          </ac:spMkLst>
        </pc:spChg>
        <pc:spChg chg="mod">
          <ac:chgData name="Bantei Sangma [Chillibreeze]" userId="e7070ce9-26a8-4d3a-99f4-f2ac4567d4da" providerId="ADAL" clId="{6AB8A73D-CDEF-4FB5-9165-71445BE59506}" dt="2020-07-10T12:09:55.480" v="200"/>
          <ac:spMkLst>
            <pc:docMk/>
            <pc:sldMk cId="2334485022" sldId="1950"/>
            <ac:spMk id="71" creationId="{CF1B63FB-B5CE-4254-A038-AE9DC0C4CEE6}"/>
          </ac:spMkLst>
        </pc:spChg>
        <pc:grpChg chg="del mod">
          <ac:chgData name="Bantei Sangma [Chillibreeze]" userId="e7070ce9-26a8-4d3a-99f4-f2ac4567d4da" providerId="ADAL" clId="{6AB8A73D-CDEF-4FB5-9165-71445BE59506}" dt="2020-07-10T12:11:52.633" v="226" actId="478"/>
          <ac:grpSpMkLst>
            <pc:docMk/>
            <pc:sldMk cId="2334485022" sldId="1950"/>
            <ac:grpSpMk id="3" creationId="{FF365691-8550-46AE-BB04-80B2956E01A4}"/>
          </ac:grpSpMkLst>
        </pc:grpChg>
        <pc:grpChg chg="del mod">
          <ac:chgData name="Bantei Sangma [Chillibreeze]" userId="e7070ce9-26a8-4d3a-99f4-f2ac4567d4da" providerId="ADAL" clId="{6AB8A73D-CDEF-4FB5-9165-71445BE59506}" dt="2020-07-10T12:11:52.633" v="226" actId="478"/>
          <ac:grpSpMkLst>
            <pc:docMk/>
            <pc:sldMk cId="2334485022" sldId="1950"/>
            <ac:grpSpMk id="5" creationId="{298F96D7-60B3-46D5-853D-31756DDF31D0}"/>
          </ac:grpSpMkLst>
        </pc:grpChg>
        <pc:grpChg chg="del mod">
          <ac:chgData name="Bantei Sangma [Chillibreeze]" userId="e7070ce9-26a8-4d3a-99f4-f2ac4567d4da" providerId="ADAL" clId="{6AB8A73D-CDEF-4FB5-9165-71445BE59506}" dt="2020-07-10T12:11:52.633" v="226" actId="478"/>
          <ac:grpSpMkLst>
            <pc:docMk/>
            <pc:sldMk cId="2334485022" sldId="1950"/>
            <ac:grpSpMk id="41" creationId="{2E42086A-5D8B-408F-8772-ECC974555201}"/>
          </ac:grpSpMkLst>
        </pc:grpChg>
        <pc:grpChg chg="del mod">
          <ac:chgData name="Bantei Sangma [Chillibreeze]" userId="e7070ce9-26a8-4d3a-99f4-f2ac4567d4da" providerId="ADAL" clId="{6AB8A73D-CDEF-4FB5-9165-71445BE59506}" dt="2020-07-10T12:11:52.633" v="226" actId="478"/>
          <ac:grpSpMkLst>
            <pc:docMk/>
            <pc:sldMk cId="2334485022" sldId="1950"/>
            <ac:grpSpMk id="47" creationId="{0C810819-FC3E-4FE3-B6C9-781991F7B7C7}"/>
          </ac:grpSpMkLst>
        </pc:grpChg>
        <pc:grpChg chg="add mod">
          <ac:chgData name="Bantei Sangma [Chillibreeze]" userId="e7070ce9-26a8-4d3a-99f4-f2ac4567d4da" providerId="ADAL" clId="{6AB8A73D-CDEF-4FB5-9165-71445BE59506}" dt="2020-07-10T12:12:07.614" v="234" actId="554"/>
          <ac:grpSpMkLst>
            <pc:docMk/>
            <pc:sldMk cId="2334485022" sldId="1950"/>
            <ac:grpSpMk id="50" creationId="{34BDD148-5E63-4962-9E09-457C7BAF9A26}"/>
          </ac:grpSpMkLst>
        </pc:grpChg>
        <pc:grpChg chg="mod">
          <ac:chgData name="Bantei Sangma [Chillibreeze]" userId="e7070ce9-26a8-4d3a-99f4-f2ac4567d4da" providerId="ADAL" clId="{6AB8A73D-CDEF-4FB5-9165-71445BE59506}" dt="2020-07-10T12:09:55.480" v="200"/>
          <ac:grpSpMkLst>
            <pc:docMk/>
            <pc:sldMk cId="2334485022" sldId="1950"/>
            <ac:grpSpMk id="56" creationId="{FE96654D-A722-4839-A09B-5D2E43E1DB27}"/>
          </ac:grpSpMkLst>
        </pc:grpChg>
        <pc:grpChg chg="add del mod">
          <ac:chgData name="Bantei Sangma [Chillibreeze]" userId="e7070ce9-26a8-4d3a-99f4-f2ac4567d4da" providerId="ADAL" clId="{6AB8A73D-CDEF-4FB5-9165-71445BE59506}" dt="2020-07-10T12:11:09.626" v="218" actId="478"/>
          <ac:grpSpMkLst>
            <pc:docMk/>
            <pc:sldMk cId="2334485022" sldId="1950"/>
            <ac:grpSpMk id="67" creationId="{49E328EC-09EF-48BF-947A-5B0F4DDE5D16}"/>
          </ac:grpSpMkLst>
        </pc:grpChg>
        <pc:grpChg chg="mod">
          <ac:chgData name="Bantei Sangma [Chillibreeze]" userId="e7070ce9-26a8-4d3a-99f4-f2ac4567d4da" providerId="ADAL" clId="{6AB8A73D-CDEF-4FB5-9165-71445BE59506}" dt="2020-07-10T12:09:55.480" v="200"/>
          <ac:grpSpMkLst>
            <pc:docMk/>
            <pc:sldMk cId="2334485022" sldId="1950"/>
            <ac:grpSpMk id="68" creationId="{02C5ACA4-83AC-4B6C-A299-9BD57E4D4A31}"/>
          </ac:grpSpMkLst>
        </pc:grpChg>
        <pc:picChg chg="del mod">
          <ac:chgData name="Bantei Sangma [Chillibreeze]" userId="e7070ce9-26a8-4d3a-99f4-f2ac4567d4da" providerId="ADAL" clId="{6AB8A73D-CDEF-4FB5-9165-71445BE59506}" dt="2020-07-10T12:11:52.633" v="226" actId="478"/>
          <ac:picMkLst>
            <pc:docMk/>
            <pc:sldMk cId="2334485022" sldId="1950"/>
            <ac:picMk id="27" creationId="{5B954BA0-3D7D-4D63-9A55-B980105E9F06}"/>
          </ac:picMkLst>
        </pc:picChg>
        <pc:picChg chg="del mod">
          <ac:chgData name="Bantei Sangma [Chillibreeze]" userId="e7070ce9-26a8-4d3a-99f4-f2ac4567d4da" providerId="ADAL" clId="{6AB8A73D-CDEF-4FB5-9165-71445BE59506}" dt="2020-07-10T12:11:52.633" v="226" actId="478"/>
          <ac:picMkLst>
            <pc:docMk/>
            <pc:sldMk cId="2334485022" sldId="1950"/>
            <ac:picMk id="35" creationId="{03897DD3-6142-4FA3-9890-CF02050EDA3D}"/>
          </ac:picMkLst>
        </pc:picChg>
        <pc:picChg chg="mod">
          <ac:chgData name="Bantei Sangma [Chillibreeze]" userId="e7070ce9-26a8-4d3a-99f4-f2ac4567d4da" providerId="ADAL" clId="{6AB8A73D-CDEF-4FB5-9165-71445BE59506}" dt="2020-07-10T12:09:55.480" v="200"/>
          <ac:picMkLst>
            <pc:docMk/>
            <pc:sldMk cId="2334485022" sldId="1950"/>
            <ac:picMk id="62" creationId="{1E4B9BED-EC77-444E-AA72-3433D600E6F3}"/>
          </ac:picMkLst>
        </pc:picChg>
        <pc:picChg chg="mod">
          <ac:chgData name="Bantei Sangma [Chillibreeze]" userId="e7070ce9-26a8-4d3a-99f4-f2ac4567d4da" providerId="ADAL" clId="{6AB8A73D-CDEF-4FB5-9165-71445BE59506}" dt="2020-07-10T12:09:55.480" v="200"/>
          <ac:picMkLst>
            <pc:docMk/>
            <pc:sldMk cId="2334485022" sldId="1950"/>
            <ac:picMk id="69" creationId="{5BF2C27A-23FC-48A5-BFB1-11609FD1BFBB}"/>
          </ac:picMkLst>
        </pc:picChg>
        <pc:cxnChg chg="add mod">
          <ac:chgData name="Bantei Sangma [Chillibreeze]" userId="e7070ce9-26a8-4d3a-99f4-f2ac4567d4da" providerId="ADAL" clId="{6AB8A73D-CDEF-4FB5-9165-71445BE59506}" dt="2020-07-10T12:11:58.094" v="230" actId="465"/>
          <ac:cxnSpMkLst>
            <pc:docMk/>
            <pc:sldMk cId="2334485022" sldId="1950"/>
            <ac:cxnSpMk id="39" creationId="{EEF31729-A47D-4460-B5FF-28C9E0DE0B6D}"/>
          </ac:cxnSpMkLst>
        </pc:cxnChg>
        <pc:cxnChg chg="del mod">
          <ac:chgData name="Bantei Sangma [Chillibreeze]" userId="e7070ce9-26a8-4d3a-99f4-f2ac4567d4da" providerId="ADAL" clId="{6AB8A73D-CDEF-4FB5-9165-71445BE59506}" dt="2020-07-10T12:11:52.633" v="226" actId="478"/>
          <ac:cxnSpMkLst>
            <pc:docMk/>
            <pc:sldMk cId="2334485022" sldId="1950"/>
            <ac:cxnSpMk id="46" creationId="{2DECA07E-EC2A-4B5A-A041-6A5B011DA1C3}"/>
          </ac:cxnSpMkLst>
        </pc:cxnChg>
        <pc:cxnChg chg="del mod">
          <ac:chgData name="Bantei Sangma [Chillibreeze]" userId="e7070ce9-26a8-4d3a-99f4-f2ac4567d4da" providerId="ADAL" clId="{6AB8A73D-CDEF-4FB5-9165-71445BE59506}" dt="2020-07-10T12:11:52.633" v="226" actId="478"/>
          <ac:cxnSpMkLst>
            <pc:docMk/>
            <pc:sldMk cId="2334485022" sldId="1950"/>
            <ac:cxnSpMk id="52" creationId="{DCB5A8AF-B7DA-4489-8957-5949B47235A2}"/>
          </ac:cxnSpMkLst>
        </pc:cxnChg>
        <pc:cxnChg chg="del mod">
          <ac:chgData name="Bantei Sangma [Chillibreeze]" userId="e7070ce9-26a8-4d3a-99f4-f2ac4567d4da" providerId="ADAL" clId="{6AB8A73D-CDEF-4FB5-9165-71445BE59506}" dt="2020-07-10T12:11:52.633" v="226" actId="478"/>
          <ac:cxnSpMkLst>
            <pc:docMk/>
            <pc:sldMk cId="2334485022" sldId="1950"/>
            <ac:cxnSpMk id="58" creationId="{A723CD8F-61BD-49D3-A60C-46BA48F8E3D7}"/>
          </ac:cxnSpMkLst>
        </pc:cxnChg>
      </pc:sldChg>
      <pc:sldChg chg="delSp modSp add del mod">
        <pc:chgData name="Bantei Sangma [Chillibreeze]" userId="e7070ce9-26a8-4d3a-99f4-f2ac4567d4da" providerId="ADAL" clId="{6AB8A73D-CDEF-4FB5-9165-71445BE59506}" dt="2020-07-10T17:07:08.651" v="721" actId="20577"/>
        <pc:sldMkLst>
          <pc:docMk/>
          <pc:sldMk cId="59849674" sldId="1951"/>
        </pc:sldMkLst>
        <pc:spChg chg="mod">
          <ac:chgData name="Bantei Sangma [Chillibreeze]" userId="e7070ce9-26a8-4d3a-99f4-f2ac4567d4da" providerId="ADAL" clId="{6AB8A73D-CDEF-4FB5-9165-71445BE59506}" dt="2020-07-10T17:07:08.651" v="721" actId="20577"/>
          <ac:spMkLst>
            <pc:docMk/>
            <pc:sldMk cId="59849674" sldId="1951"/>
            <ac:spMk id="2" creationId="{567112AF-7AE2-4197-9F38-40C40BC380CE}"/>
          </ac:spMkLst>
        </pc:spChg>
        <pc:spChg chg="mod">
          <ac:chgData name="Bantei Sangma [Chillibreeze]" userId="e7070ce9-26a8-4d3a-99f4-f2ac4567d4da" providerId="ADAL" clId="{6AB8A73D-CDEF-4FB5-9165-71445BE59506}" dt="2020-07-10T12:13:29.013" v="246" actId="14100"/>
          <ac:spMkLst>
            <pc:docMk/>
            <pc:sldMk cId="59849674" sldId="1951"/>
            <ac:spMk id="6" creationId="{D03A2220-2B41-4369-90C1-31A9D4569E14}"/>
          </ac:spMkLst>
        </pc:spChg>
        <pc:grpChg chg="del mod">
          <ac:chgData name="Bantei Sangma [Chillibreeze]" userId="e7070ce9-26a8-4d3a-99f4-f2ac4567d4da" providerId="ADAL" clId="{6AB8A73D-CDEF-4FB5-9165-71445BE59506}" dt="2020-07-10T12:13:00.078" v="243" actId="478"/>
          <ac:grpSpMkLst>
            <pc:docMk/>
            <pc:sldMk cId="59849674" sldId="1951"/>
            <ac:grpSpMk id="11" creationId="{A9C8A979-3010-4CF6-A1DC-2E65BE6FE62E}"/>
          </ac:grpSpMkLst>
        </pc:grpChg>
      </pc:sldChg>
      <pc:sldChg chg="addSp delSp modSp add mod">
        <pc:chgData name="Bantei Sangma [Chillibreeze]" userId="e7070ce9-26a8-4d3a-99f4-f2ac4567d4da" providerId="ADAL" clId="{6AB8A73D-CDEF-4FB5-9165-71445BE59506}" dt="2020-07-10T17:07:16.835" v="723" actId="20577"/>
        <pc:sldMkLst>
          <pc:docMk/>
          <pc:sldMk cId="3981396567" sldId="1952"/>
        </pc:sldMkLst>
        <pc:spChg chg="mod">
          <ac:chgData name="Bantei Sangma [Chillibreeze]" userId="e7070ce9-26a8-4d3a-99f4-f2ac4567d4da" providerId="ADAL" clId="{6AB8A73D-CDEF-4FB5-9165-71445BE59506}" dt="2020-07-10T17:07:16.835" v="723" actId="20577"/>
          <ac:spMkLst>
            <pc:docMk/>
            <pc:sldMk cId="3981396567" sldId="1952"/>
            <ac:spMk id="2" creationId="{D0C9A83E-5AFF-4387-92E5-0F955CEA14F7}"/>
          </ac:spMkLst>
        </pc:spChg>
        <pc:spChg chg="mod topLvl">
          <ac:chgData name="Bantei Sangma [Chillibreeze]" userId="e7070ce9-26a8-4d3a-99f4-f2ac4567d4da" providerId="ADAL" clId="{6AB8A73D-CDEF-4FB5-9165-71445BE59506}" dt="2020-07-10T14:44:28.057" v="615" actId="1037"/>
          <ac:spMkLst>
            <pc:docMk/>
            <pc:sldMk cId="3981396567" sldId="1952"/>
            <ac:spMk id="4" creationId="{A234402E-FD7C-4242-85EA-6ACAE732E2FD}"/>
          </ac:spMkLst>
        </pc:spChg>
        <pc:spChg chg="mod topLvl">
          <ac:chgData name="Bantei Sangma [Chillibreeze]" userId="e7070ce9-26a8-4d3a-99f4-f2ac4567d4da" providerId="ADAL" clId="{6AB8A73D-CDEF-4FB5-9165-71445BE59506}" dt="2020-07-10T14:44:28.057" v="615" actId="1037"/>
          <ac:spMkLst>
            <pc:docMk/>
            <pc:sldMk cId="3981396567" sldId="1952"/>
            <ac:spMk id="5" creationId="{E5F7B95A-E382-451C-9D99-7C949FF25D44}"/>
          </ac:spMkLst>
        </pc:spChg>
        <pc:spChg chg="mod topLvl">
          <ac:chgData name="Bantei Sangma [Chillibreeze]" userId="e7070ce9-26a8-4d3a-99f4-f2ac4567d4da" providerId="ADAL" clId="{6AB8A73D-CDEF-4FB5-9165-71445BE59506}" dt="2020-07-10T14:44:28.057" v="615" actId="1037"/>
          <ac:spMkLst>
            <pc:docMk/>
            <pc:sldMk cId="3981396567" sldId="1952"/>
            <ac:spMk id="6" creationId="{3C5F2AF5-E8F7-45BC-BF9D-59CA72BCEEED}"/>
          </ac:spMkLst>
        </pc:spChg>
        <pc:spChg chg="mod topLvl">
          <ac:chgData name="Bantei Sangma [Chillibreeze]" userId="e7070ce9-26a8-4d3a-99f4-f2ac4567d4da" providerId="ADAL" clId="{6AB8A73D-CDEF-4FB5-9165-71445BE59506}" dt="2020-07-10T14:44:28.057" v="615" actId="1037"/>
          <ac:spMkLst>
            <pc:docMk/>
            <pc:sldMk cId="3981396567" sldId="1952"/>
            <ac:spMk id="7" creationId="{65DC0EC4-A80B-4D6F-8CAA-1A5F3AC8C3E5}"/>
          </ac:spMkLst>
        </pc:spChg>
        <pc:spChg chg="mod topLvl">
          <ac:chgData name="Bantei Sangma [Chillibreeze]" userId="e7070ce9-26a8-4d3a-99f4-f2ac4567d4da" providerId="ADAL" clId="{6AB8A73D-CDEF-4FB5-9165-71445BE59506}" dt="2020-07-10T14:44:28.057" v="615" actId="1037"/>
          <ac:spMkLst>
            <pc:docMk/>
            <pc:sldMk cId="3981396567" sldId="1952"/>
            <ac:spMk id="8" creationId="{EFB2E42B-54CC-421B-93D2-35157FE21B23}"/>
          </ac:spMkLst>
        </pc:spChg>
        <pc:spChg chg="mod">
          <ac:chgData name="Bantei Sangma [Chillibreeze]" userId="e7070ce9-26a8-4d3a-99f4-f2ac4567d4da" providerId="ADAL" clId="{6AB8A73D-CDEF-4FB5-9165-71445BE59506}" dt="2020-07-10T14:44:23.928" v="611" actId="165"/>
          <ac:spMkLst>
            <pc:docMk/>
            <pc:sldMk cId="3981396567" sldId="1952"/>
            <ac:spMk id="12" creationId="{C97257B4-6304-48BF-9C76-EDE83CB9F9BD}"/>
          </ac:spMkLst>
        </pc:spChg>
        <pc:spChg chg="mod">
          <ac:chgData name="Bantei Sangma [Chillibreeze]" userId="e7070ce9-26a8-4d3a-99f4-f2ac4567d4da" providerId="ADAL" clId="{6AB8A73D-CDEF-4FB5-9165-71445BE59506}" dt="2020-07-10T14:44:23.928" v="611" actId="165"/>
          <ac:spMkLst>
            <pc:docMk/>
            <pc:sldMk cId="3981396567" sldId="1952"/>
            <ac:spMk id="13" creationId="{4493060A-B2BC-43A7-B427-8A149854C39C}"/>
          </ac:spMkLst>
        </pc:spChg>
        <pc:spChg chg="mod">
          <ac:chgData name="Bantei Sangma [Chillibreeze]" userId="e7070ce9-26a8-4d3a-99f4-f2ac4567d4da" providerId="ADAL" clId="{6AB8A73D-CDEF-4FB5-9165-71445BE59506}" dt="2020-07-10T14:44:23.928" v="611" actId="165"/>
          <ac:spMkLst>
            <pc:docMk/>
            <pc:sldMk cId="3981396567" sldId="1952"/>
            <ac:spMk id="17" creationId="{247C6196-608A-4CA5-9141-1A7DC320B056}"/>
          </ac:spMkLst>
        </pc:spChg>
        <pc:spChg chg="mod">
          <ac:chgData name="Bantei Sangma [Chillibreeze]" userId="e7070ce9-26a8-4d3a-99f4-f2ac4567d4da" providerId="ADAL" clId="{6AB8A73D-CDEF-4FB5-9165-71445BE59506}" dt="2020-07-10T14:44:23.928" v="611" actId="165"/>
          <ac:spMkLst>
            <pc:docMk/>
            <pc:sldMk cId="3981396567" sldId="1952"/>
            <ac:spMk id="18" creationId="{0A7FBEFC-5CE4-4BA7-B5BA-97F8AF101568}"/>
          </ac:spMkLst>
        </pc:spChg>
        <pc:spChg chg="mod">
          <ac:chgData name="Bantei Sangma [Chillibreeze]" userId="e7070ce9-26a8-4d3a-99f4-f2ac4567d4da" providerId="ADAL" clId="{6AB8A73D-CDEF-4FB5-9165-71445BE59506}" dt="2020-07-10T14:44:23.928" v="611" actId="165"/>
          <ac:spMkLst>
            <pc:docMk/>
            <pc:sldMk cId="3981396567" sldId="1952"/>
            <ac:spMk id="22" creationId="{CEB24451-4E0E-4C46-B693-A5BBFD975A3A}"/>
          </ac:spMkLst>
        </pc:spChg>
        <pc:spChg chg="mod">
          <ac:chgData name="Bantei Sangma [Chillibreeze]" userId="e7070ce9-26a8-4d3a-99f4-f2ac4567d4da" providerId="ADAL" clId="{6AB8A73D-CDEF-4FB5-9165-71445BE59506}" dt="2020-07-10T14:44:23.928" v="611" actId="165"/>
          <ac:spMkLst>
            <pc:docMk/>
            <pc:sldMk cId="3981396567" sldId="1952"/>
            <ac:spMk id="23" creationId="{FAC025B3-79E3-450B-A5C7-6E055F5E1D4D}"/>
          </ac:spMkLst>
        </pc:spChg>
        <pc:spChg chg="mod">
          <ac:chgData name="Bantei Sangma [Chillibreeze]" userId="e7070ce9-26a8-4d3a-99f4-f2ac4567d4da" providerId="ADAL" clId="{6AB8A73D-CDEF-4FB5-9165-71445BE59506}" dt="2020-07-10T14:44:23.928" v="611" actId="165"/>
          <ac:spMkLst>
            <pc:docMk/>
            <pc:sldMk cId="3981396567" sldId="1952"/>
            <ac:spMk id="27" creationId="{11584AF5-DFEE-43E6-B363-BE20E5649720}"/>
          </ac:spMkLst>
        </pc:spChg>
        <pc:spChg chg="mod">
          <ac:chgData name="Bantei Sangma [Chillibreeze]" userId="e7070ce9-26a8-4d3a-99f4-f2ac4567d4da" providerId="ADAL" clId="{6AB8A73D-CDEF-4FB5-9165-71445BE59506}" dt="2020-07-10T14:44:23.928" v="611" actId="165"/>
          <ac:spMkLst>
            <pc:docMk/>
            <pc:sldMk cId="3981396567" sldId="1952"/>
            <ac:spMk id="28" creationId="{69C79433-D1FA-44AD-9A4E-C6562C51AE19}"/>
          </ac:spMkLst>
        </pc:spChg>
        <pc:spChg chg="mod">
          <ac:chgData name="Bantei Sangma [Chillibreeze]" userId="e7070ce9-26a8-4d3a-99f4-f2ac4567d4da" providerId="ADAL" clId="{6AB8A73D-CDEF-4FB5-9165-71445BE59506}" dt="2020-07-10T14:44:23.928" v="611" actId="165"/>
          <ac:spMkLst>
            <pc:docMk/>
            <pc:sldMk cId="3981396567" sldId="1952"/>
            <ac:spMk id="32" creationId="{CA085072-C9A0-401C-B78F-6351C85FBCE6}"/>
          </ac:spMkLst>
        </pc:spChg>
        <pc:spChg chg="mod">
          <ac:chgData name="Bantei Sangma [Chillibreeze]" userId="e7070ce9-26a8-4d3a-99f4-f2ac4567d4da" providerId="ADAL" clId="{6AB8A73D-CDEF-4FB5-9165-71445BE59506}" dt="2020-07-10T14:44:23.928" v="611" actId="165"/>
          <ac:spMkLst>
            <pc:docMk/>
            <pc:sldMk cId="3981396567" sldId="1952"/>
            <ac:spMk id="33" creationId="{1CC52223-30CF-49F7-A5B5-5F92ABF5F29F}"/>
          </ac:spMkLst>
        </pc:spChg>
        <pc:grpChg chg="add del mod">
          <ac:chgData name="Bantei Sangma [Chillibreeze]" userId="e7070ce9-26a8-4d3a-99f4-f2ac4567d4da" providerId="ADAL" clId="{6AB8A73D-CDEF-4FB5-9165-71445BE59506}" dt="2020-07-10T12:18:48.301" v="373" actId="165"/>
          <ac:grpSpMkLst>
            <pc:docMk/>
            <pc:sldMk cId="3981396567" sldId="1952"/>
            <ac:grpSpMk id="3" creationId="{52667580-254E-43E0-89F3-27EF7CC97ECB}"/>
          </ac:grpSpMkLst>
        </pc:grpChg>
        <pc:grpChg chg="add del mod">
          <ac:chgData name="Bantei Sangma [Chillibreeze]" userId="e7070ce9-26a8-4d3a-99f4-f2ac4567d4da" providerId="ADAL" clId="{6AB8A73D-CDEF-4FB5-9165-71445BE59506}" dt="2020-07-10T12:18:48.301" v="373" actId="165"/>
          <ac:grpSpMkLst>
            <pc:docMk/>
            <pc:sldMk cId="3981396567" sldId="1952"/>
            <ac:grpSpMk id="9" creationId="{B0F2FFF9-632B-424A-9943-773BA2AEBC19}"/>
          </ac:grpSpMkLst>
        </pc:grpChg>
        <pc:grpChg chg="mod topLvl">
          <ac:chgData name="Bantei Sangma [Chillibreeze]" userId="e7070ce9-26a8-4d3a-99f4-f2ac4567d4da" providerId="ADAL" clId="{6AB8A73D-CDEF-4FB5-9165-71445BE59506}" dt="2020-07-10T14:44:23.928" v="611" actId="165"/>
          <ac:grpSpMkLst>
            <pc:docMk/>
            <pc:sldMk cId="3981396567" sldId="1952"/>
            <ac:grpSpMk id="10" creationId="{DA9D9E8C-9ABD-4A46-97C1-74D8A7CC47A2}"/>
          </ac:grpSpMkLst>
        </pc:grpChg>
        <pc:grpChg chg="add del mod">
          <ac:chgData name="Bantei Sangma [Chillibreeze]" userId="e7070ce9-26a8-4d3a-99f4-f2ac4567d4da" providerId="ADAL" clId="{6AB8A73D-CDEF-4FB5-9165-71445BE59506}" dt="2020-07-10T12:18:48.301" v="373" actId="165"/>
          <ac:grpSpMkLst>
            <pc:docMk/>
            <pc:sldMk cId="3981396567" sldId="1952"/>
            <ac:grpSpMk id="11" creationId="{7AACDB6A-5B09-44A2-86A0-FA09D8A91C9C}"/>
          </ac:grpSpMkLst>
        </pc:grpChg>
        <pc:grpChg chg="add del mod">
          <ac:chgData name="Bantei Sangma [Chillibreeze]" userId="e7070ce9-26a8-4d3a-99f4-f2ac4567d4da" providerId="ADAL" clId="{6AB8A73D-CDEF-4FB5-9165-71445BE59506}" dt="2020-07-10T12:18:48.301" v="373" actId="165"/>
          <ac:grpSpMkLst>
            <pc:docMk/>
            <pc:sldMk cId="3981396567" sldId="1952"/>
            <ac:grpSpMk id="14" creationId="{0FEF94F7-652B-4C76-8767-EE45B845EF6D}"/>
          </ac:grpSpMkLst>
        </pc:grpChg>
        <pc:grpChg chg="add mod topLvl">
          <ac:chgData name="Bantei Sangma [Chillibreeze]" userId="e7070ce9-26a8-4d3a-99f4-f2ac4567d4da" providerId="ADAL" clId="{6AB8A73D-CDEF-4FB5-9165-71445BE59506}" dt="2020-07-10T14:44:23.928" v="611" actId="165"/>
          <ac:grpSpMkLst>
            <pc:docMk/>
            <pc:sldMk cId="3981396567" sldId="1952"/>
            <ac:grpSpMk id="14" creationId="{D87375C2-6490-4BC5-B0CD-1243A84B9A74}"/>
          </ac:grpSpMkLst>
        </pc:grpChg>
        <pc:grpChg chg="mod topLvl">
          <ac:chgData name="Bantei Sangma [Chillibreeze]" userId="e7070ce9-26a8-4d3a-99f4-f2ac4567d4da" providerId="ADAL" clId="{6AB8A73D-CDEF-4FB5-9165-71445BE59506}" dt="2020-07-10T14:44:23.928" v="611" actId="165"/>
          <ac:grpSpMkLst>
            <pc:docMk/>
            <pc:sldMk cId="3981396567" sldId="1952"/>
            <ac:grpSpMk id="15" creationId="{6AC692D5-C2B2-442B-8480-029E87248F5C}"/>
          </ac:grpSpMkLst>
        </pc:grpChg>
        <pc:grpChg chg="add mod topLvl">
          <ac:chgData name="Bantei Sangma [Chillibreeze]" userId="e7070ce9-26a8-4d3a-99f4-f2ac4567d4da" providerId="ADAL" clId="{6AB8A73D-CDEF-4FB5-9165-71445BE59506}" dt="2020-07-10T14:44:23.928" v="611" actId="165"/>
          <ac:grpSpMkLst>
            <pc:docMk/>
            <pc:sldMk cId="3981396567" sldId="1952"/>
            <ac:grpSpMk id="16" creationId="{35FE73A8-AAC1-40CA-927F-93D3FF09CE41}"/>
          </ac:grpSpMkLst>
        </pc:grpChg>
        <pc:grpChg chg="add del mod">
          <ac:chgData name="Bantei Sangma [Chillibreeze]" userId="e7070ce9-26a8-4d3a-99f4-f2ac4567d4da" providerId="ADAL" clId="{6AB8A73D-CDEF-4FB5-9165-71445BE59506}" dt="2020-07-10T12:18:48.301" v="373" actId="165"/>
          <ac:grpSpMkLst>
            <pc:docMk/>
            <pc:sldMk cId="3981396567" sldId="1952"/>
            <ac:grpSpMk id="16" creationId="{CAFD1061-D91E-4912-8D1C-FE84D0C597E3}"/>
          </ac:grpSpMkLst>
        </pc:grpChg>
        <pc:grpChg chg="add mod topLvl">
          <ac:chgData name="Bantei Sangma [Chillibreeze]" userId="e7070ce9-26a8-4d3a-99f4-f2ac4567d4da" providerId="ADAL" clId="{6AB8A73D-CDEF-4FB5-9165-71445BE59506}" dt="2020-07-10T14:44:23.928" v="611" actId="165"/>
          <ac:grpSpMkLst>
            <pc:docMk/>
            <pc:sldMk cId="3981396567" sldId="1952"/>
            <ac:grpSpMk id="19" creationId="{56536D4E-F5B8-42ED-ABD1-D1854A446808}"/>
          </ac:grpSpMkLst>
        </pc:grpChg>
        <pc:grpChg chg="mod topLvl">
          <ac:chgData name="Bantei Sangma [Chillibreeze]" userId="e7070ce9-26a8-4d3a-99f4-f2ac4567d4da" providerId="ADAL" clId="{6AB8A73D-CDEF-4FB5-9165-71445BE59506}" dt="2020-07-10T14:44:23.928" v="611" actId="165"/>
          <ac:grpSpMkLst>
            <pc:docMk/>
            <pc:sldMk cId="3981396567" sldId="1952"/>
            <ac:grpSpMk id="20" creationId="{29AAB344-C3DA-43E7-8E3A-B5526C6EB729}"/>
          </ac:grpSpMkLst>
        </pc:grpChg>
        <pc:grpChg chg="add mod topLvl">
          <ac:chgData name="Bantei Sangma [Chillibreeze]" userId="e7070ce9-26a8-4d3a-99f4-f2ac4567d4da" providerId="ADAL" clId="{6AB8A73D-CDEF-4FB5-9165-71445BE59506}" dt="2020-07-10T14:44:23.928" v="611" actId="165"/>
          <ac:grpSpMkLst>
            <pc:docMk/>
            <pc:sldMk cId="3981396567" sldId="1952"/>
            <ac:grpSpMk id="21" creationId="{AEA1FC73-4E8B-431B-B2EB-1ED77C35841C}"/>
          </ac:grpSpMkLst>
        </pc:grpChg>
        <pc:grpChg chg="add del mod">
          <ac:chgData name="Bantei Sangma [Chillibreeze]" userId="e7070ce9-26a8-4d3a-99f4-f2ac4567d4da" providerId="ADAL" clId="{6AB8A73D-CDEF-4FB5-9165-71445BE59506}" dt="2020-07-10T14:44:23.928" v="611" actId="165"/>
          <ac:grpSpMkLst>
            <pc:docMk/>
            <pc:sldMk cId="3981396567" sldId="1952"/>
            <ac:grpSpMk id="24" creationId="{D832195F-2DF0-442B-8EE0-471B1BDED70E}"/>
          </ac:grpSpMkLst>
        </pc:grpChg>
        <pc:grpChg chg="mod topLvl">
          <ac:chgData name="Bantei Sangma [Chillibreeze]" userId="e7070ce9-26a8-4d3a-99f4-f2ac4567d4da" providerId="ADAL" clId="{6AB8A73D-CDEF-4FB5-9165-71445BE59506}" dt="2020-07-10T14:44:23.928" v="611" actId="165"/>
          <ac:grpSpMkLst>
            <pc:docMk/>
            <pc:sldMk cId="3981396567" sldId="1952"/>
            <ac:grpSpMk id="25" creationId="{AB05AFCE-9FAC-47C2-B924-AC98FD5F9E3E}"/>
          </ac:grpSpMkLst>
        </pc:grpChg>
        <pc:grpChg chg="add del mod">
          <ac:chgData name="Bantei Sangma [Chillibreeze]" userId="e7070ce9-26a8-4d3a-99f4-f2ac4567d4da" providerId="ADAL" clId="{6AB8A73D-CDEF-4FB5-9165-71445BE59506}" dt="2020-07-10T14:44:23.928" v="611" actId="165"/>
          <ac:grpSpMkLst>
            <pc:docMk/>
            <pc:sldMk cId="3981396567" sldId="1952"/>
            <ac:grpSpMk id="26" creationId="{D106F900-289F-4C29-8C6A-E2ED3CE73D01}"/>
          </ac:grpSpMkLst>
        </pc:grpChg>
        <pc:grpChg chg="add del mod">
          <ac:chgData name="Bantei Sangma [Chillibreeze]" userId="e7070ce9-26a8-4d3a-99f4-f2ac4567d4da" providerId="ADAL" clId="{6AB8A73D-CDEF-4FB5-9165-71445BE59506}" dt="2020-07-10T14:44:23.928" v="611" actId="165"/>
          <ac:grpSpMkLst>
            <pc:docMk/>
            <pc:sldMk cId="3981396567" sldId="1952"/>
            <ac:grpSpMk id="29" creationId="{141A83C2-E16E-42BF-A87B-69E142EE36A4}"/>
          </ac:grpSpMkLst>
        </pc:grpChg>
        <pc:grpChg chg="mod">
          <ac:chgData name="Bantei Sangma [Chillibreeze]" userId="e7070ce9-26a8-4d3a-99f4-f2ac4567d4da" providerId="ADAL" clId="{6AB8A73D-CDEF-4FB5-9165-71445BE59506}" dt="2020-07-10T14:44:23.928" v="611" actId="165"/>
          <ac:grpSpMkLst>
            <pc:docMk/>
            <pc:sldMk cId="3981396567" sldId="1952"/>
            <ac:grpSpMk id="30" creationId="{9FD7A5F0-DEAD-4D32-98C3-367AF49B811F}"/>
          </ac:grpSpMkLst>
        </pc:grpChg>
        <pc:grpChg chg="add mod">
          <ac:chgData name="Bantei Sangma [Chillibreeze]" userId="e7070ce9-26a8-4d3a-99f4-f2ac4567d4da" providerId="ADAL" clId="{6AB8A73D-CDEF-4FB5-9165-71445BE59506}" dt="2020-07-10T14:44:02.882" v="607" actId="164"/>
          <ac:grpSpMkLst>
            <pc:docMk/>
            <pc:sldMk cId="3981396567" sldId="1952"/>
            <ac:grpSpMk id="36" creationId="{A6C0AB05-AD41-4136-96A0-C469E0C1DC00}"/>
          </ac:grpSpMkLst>
        </pc:grpChg>
        <pc:grpChg chg="add mod">
          <ac:chgData name="Bantei Sangma [Chillibreeze]" userId="e7070ce9-26a8-4d3a-99f4-f2ac4567d4da" providerId="ADAL" clId="{6AB8A73D-CDEF-4FB5-9165-71445BE59506}" dt="2020-07-10T14:44:02.070" v="606" actId="164"/>
          <ac:grpSpMkLst>
            <pc:docMk/>
            <pc:sldMk cId="3981396567" sldId="1952"/>
            <ac:grpSpMk id="37" creationId="{BDB0B922-16D6-47B5-AD33-BCEE803C1C59}"/>
          </ac:grpSpMkLst>
        </pc:grpChg>
        <pc:grpChg chg="add del mod">
          <ac:chgData name="Bantei Sangma [Chillibreeze]" userId="e7070ce9-26a8-4d3a-99f4-f2ac4567d4da" providerId="ADAL" clId="{6AB8A73D-CDEF-4FB5-9165-71445BE59506}" dt="2020-07-10T14:44:23.928" v="611" actId="165"/>
          <ac:grpSpMkLst>
            <pc:docMk/>
            <pc:sldMk cId="3981396567" sldId="1952"/>
            <ac:grpSpMk id="38" creationId="{0460A5AE-031F-47E4-B773-03498F225CF4}"/>
          </ac:grpSpMkLst>
        </pc:grpChg>
        <pc:grpChg chg="del mod topLvl">
          <ac:chgData name="Bantei Sangma [Chillibreeze]" userId="e7070ce9-26a8-4d3a-99f4-f2ac4567d4da" providerId="ADAL" clId="{6AB8A73D-CDEF-4FB5-9165-71445BE59506}" dt="2020-07-10T14:40:54.565" v="534" actId="478"/>
          <ac:grpSpMkLst>
            <pc:docMk/>
            <pc:sldMk cId="3981396567" sldId="1952"/>
            <ac:grpSpMk id="41" creationId="{DF8BD648-D4A3-48E0-A7C2-7AB175665E0C}"/>
          </ac:grpSpMkLst>
        </pc:grpChg>
        <pc:grpChg chg="del mod topLvl">
          <ac:chgData name="Bantei Sangma [Chillibreeze]" userId="e7070ce9-26a8-4d3a-99f4-f2ac4567d4da" providerId="ADAL" clId="{6AB8A73D-CDEF-4FB5-9165-71445BE59506}" dt="2020-07-10T14:42:27.523" v="569" actId="165"/>
          <ac:grpSpMkLst>
            <pc:docMk/>
            <pc:sldMk cId="3981396567" sldId="1952"/>
            <ac:grpSpMk id="43" creationId="{C2C70CBD-36D1-4EC6-8094-AE1821BBBFC9}"/>
          </ac:grpSpMkLst>
        </pc:grpChg>
        <pc:grpChg chg="mod topLvl">
          <ac:chgData name="Bantei Sangma [Chillibreeze]" userId="e7070ce9-26a8-4d3a-99f4-f2ac4567d4da" providerId="ADAL" clId="{6AB8A73D-CDEF-4FB5-9165-71445BE59506}" dt="2020-07-10T14:44:23.928" v="611" actId="165"/>
          <ac:grpSpMkLst>
            <pc:docMk/>
            <pc:sldMk cId="3981396567" sldId="1952"/>
            <ac:grpSpMk id="45" creationId="{C057EA8A-2831-4DF7-BF12-F59F866119BA}"/>
          </ac:grpSpMkLst>
        </pc:grpChg>
        <pc:grpChg chg="add del mod">
          <ac:chgData name="Bantei Sangma [Chillibreeze]" userId="e7070ce9-26a8-4d3a-99f4-f2ac4567d4da" providerId="ADAL" clId="{6AB8A73D-CDEF-4FB5-9165-71445BE59506}" dt="2020-07-10T14:44:23.928" v="611" actId="165"/>
          <ac:grpSpMkLst>
            <pc:docMk/>
            <pc:sldMk cId="3981396567" sldId="1952"/>
            <ac:grpSpMk id="46" creationId="{DB033E52-BB52-42E8-8E91-349A5C42B819}"/>
          </ac:grpSpMkLst>
        </pc:grpChg>
        <pc:picChg chg="add del mod">
          <ac:chgData name="Bantei Sangma [Chillibreeze]" userId="e7070ce9-26a8-4d3a-99f4-f2ac4567d4da" providerId="ADAL" clId="{6AB8A73D-CDEF-4FB5-9165-71445BE59506}" dt="2020-07-10T14:39:08.743" v="529" actId="478"/>
          <ac:picMkLst>
            <pc:docMk/>
            <pc:sldMk cId="3981396567" sldId="1952"/>
            <ac:picMk id="3" creationId="{7D4F04EA-0E26-4533-8A77-01F370F502AC}"/>
          </ac:picMkLst>
        </pc:picChg>
        <pc:picChg chg="add mod">
          <ac:chgData name="Bantei Sangma [Chillibreeze]" userId="e7070ce9-26a8-4d3a-99f4-f2ac4567d4da" providerId="ADAL" clId="{6AB8A73D-CDEF-4FB5-9165-71445BE59506}" dt="2020-07-10T14:44:23.928" v="611" actId="165"/>
          <ac:picMkLst>
            <pc:docMk/>
            <pc:sldMk cId="3981396567" sldId="1952"/>
            <ac:picMk id="9" creationId="{A344540A-CB40-40AA-A622-9607494E3DDA}"/>
          </ac:picMkLst>
        </pc:picChg>
        <pc:picChg chg="add mod">
          <ac:chgData name="Bantei Sangma [Chillibreeze]" userId="e7070ce9-26a8-4d3a-99f4-f2ac4567d4da" providerId="ADAL" clId="{6AB8A73D-CDEF-4FB5-9165-71445BE59506}" dt="2020-07-10T14:44:23.928" v="611" actId="165"/>
          <ac:picMkLst>
            <pc:docMk/>
            <pc:sldMk cId="3981396567" sldId="1952"/>
            <ac:picMk id="11" creationId="{D357E193-CB4A-456F-A1B2-115829A44C05}"/>
          </ac:picMkLst>
        </pc:picChg>
        <pc:picChg chg="mod">
          <ac:chgData name="Bantei Sangma [Chillibreeze]" userId="e7070ce9-26a8-4d3a-99f4-f2ac4567d4da" providerId="ADAL" clId="{6AB8A73D-CDEF-4FB5-9165-71445BE59506}" dt="2020-07-10T14:44:23.928" v="611" actId="165"/>
          <ac:picMkLst>
            <pc:docMk/>
            <pc:sldMk cId="3981396567" sldId="1952"/>
            <ac:picMk id="39" creationId="{AB8DCC94-7019-4544-B5B5-E0DF11EB38E0}"/>
          </ac:picMkLst>
        </pc:picChg>
        <pc:picChg chg="del mod topLvl">
          <ac:chgData name="Bantei Sangma [Chillibreeze]" userId="e7070ce9-26a8-4d3a-99f4-f2ac4567d4da" providerId="ADAL" clId="{6AB8A73D-CDEF-4FB5-9165-71445BE59506}" dt="2020-07-10T14:40:54.565" v="534" actId="478"/>
          <ac:picMkLst>
            <pc:docMk/>
            <pc:sldMk cId="3981396567" sldId="1952"/>
            <ac:picMk id="40" creationId="{B9B9FD00-16B7-4912-AA98-ED4FABDECE14}"/>
          </ac:picMkLst>
        </pc:picChg>
        <pc:picChg chg="mod topLvl">
          <ac:chgData name="Bantei Sangma [Chillibreeze]" userId="e7070ce9-26a8-4d3a-99f4-f2ac4567d4da" providerId="ADAL" clId="{6AB8A73D-CDEF-4FB5-9165-71445BE59506}" dt="2020-07-10T14:44:23.928" v="611" actId="165"/>
          <ac:picMkLst>
            <pc:docMk/>
            <pc:sldMk cId="3981396567" sldId="1952"/>
            <ac:picMk id="42" creationId="{91A7AD51-E21F-4A3C-8D0A-0723401F724E}"/>
          </ac:picMkLst>
        </pc:picChg>
        <pc:picChg chg="mod">
          <ac:chgData name="Bantei Sangma [Chillibreeze]" userId="e7070ce9-26a8-4d3a-99f4-f2ac4567d4da" providerId="ADAL" clId="{6AB8A73D-CDEF-4FB5-9165-71445BE59506}" dt="2020-07-10T14:44:23.928" v="611" actId="165"/>
          <ac:picMkLst>
            <pc:docMk/>
            <pc:sldMk cId="3981396567" sldId="1952"/>
            <ac:picMk id="44" creationId="{D44D14AD-F461-4A81-81F1-653EE07632CF}"/>
          </ac:picMkLst>
        </pc:picChg>
      </pc:sldChg>
      <pc:sldChg chg="addSp delSp modSp add mod">
        <pc:chgData name="Bantei Sangma [Chillibreeze]" userId="e7070ce9-26a8-4d3a-99f4-f2ac4567d4da" providerId="ADAL" clId="{6AB8A73D-CDEF-4FB5-9165-71445BE59506}" dt="2020-07-10T14:34:11.125" v="485" actId="1076"/>
        <pc:sldMkLst>
          <pc:docMk/>
          <pc:sldMk cId="171335779" sldId="1953"/>
        </pc:sldMkLst>
        <pc:spChg chg="add del">
          <ac:chgData name="Bantei Sangma [Chillibreeze]" userId="e7070ce9-26a8-4d3a-99f4-f2ac4567d4da" providerId="ADAL" clId="{6AB8A73D-CDEF-4FB5-9165-71445BE59506}" dt="2020-07-10T14:34:10.523" v="484" actId="22"/>
          <ac:spMkLst>
            <pc:docMk/>
            <pc:sldMk cId="171335779" sldId="1953"/>
            <ac:spMk id="3" creationId="{9E911B74-5581-42B2-91BF-8A18DCD56E9B}"/>
          </ac:spMkLst>
        </pc:spChg>
        <pc:spChg chg="del">
          <ac:chgData name="Bantei Sangma [Chillibreeze]" userId="e7070ce9-26a8-4d3a-99f4-f2ac4567d4da" providerId="ADAL" clId="{6AB8A73D-CDEF-4FB5-9165-71445BE59506}" dt="2020-07-10T12:28:50.778" v="478" actId="478"/>
          <ac:spMkLst>
            <pc:docMk/>
            <pc:sldMk cId="171335779" sldId="1953"/>
            <ac:spMk id="4" creationId="{8D3F1C42-41FA-402D-B516-A7BCEB424586}"/>
          </ac:spMkLst>
        </pc:spChg>
        <pc:spChg chg="del mod">
          <ac:chgData name="Bantei Sangma [Chillibreeze]" userId="e7070ce9-26a8-4d3a-99f4-f2ac4567d4da" providerId="ADAL" clId="{6AB8A73D-CDEF-4FB5-9165-71445BE59506}" dt="2020-07-10T12:21:29.626" v="403" actId="478"/>
          <ac:spMkLst>
            <pc:docMk/>
            <pc:sldMk cId="171335779" sldId="1953"/>
            <ac:spMk id="9" creationId="{B3B8C595-5EE1-4546-BB39-DB5CDDA0052F}"/>
          </ac:spMkLst>
        </pc:spChg>
        <pc:spChg chg="del">
          <ac:chgData name="Bantei Sangma [Chillibreeze]" userId="e7070ce9-26a8-4d3a-99f4-f2ac4567d4da" providerId="ADAL" clId="{6AB8A73D-CDEF-4FB5-9165-71445BE59506}" dt="2020-07-10T12:20:00.195" v="387" actId="478"/>
          <ac:spMkLst>
            <pc:docMk/>
            <pc:sldMk cId="171335779" sldId="1953"/>
            <ac:spMk id="15" creationId="{CEB6E553-1927-437F-A096-E6143ED5E9A8}"/>
          </ac:spMkLst>
        </pc:spChg>
        <pc:spChg chg="del">
          <ac:chgData name="Bantei Sangma [Chillibreeze]" userId="e7070ce9-26a8-4d3a-99f4-f2ac4567d4da" providerId="ADAL" clId="{6AB8A73D-CDEF-4FB5-9165-71445BE59506}" dt="2020-07-10T12:20:00.195" v="387" actId="478"/>
          <ac:spMkLst>
            <pc:docMk/>
            <pc:sldMk cId="171335779" sldId="1953"/>
            <ac:spMk id="21" creationId="{CE42C819-26A4-4FF1-ABA0-827B2B7D5899}"/>
          </ac:spMkLst>
        </pc:spChg>
        <pc:spChg chg="del">
          <ac:chgData name="Bantei Sangma [Chillibreeze]" userId="e7070ce9-26a8-4d3a-99f4-f2ac4567d4da" providerId="ADAL" clId="{6AB8A73D-CDEF-4FB5-9165-71445BE59506}" dt="2020-07-10T12:20:00.195" v="387" actId="478"/>
          <ac:spMkLst>
            <pc:docMk/>
            <pc:sldMk cId="171335779" sldId="1953"/>
            <ac:spMk id="27" creationId="{C21141CE-E076-41FD-984A-017E805B3BFC}"/>
          </ac:spMkLst>
        </pc:spChg>
        <pc:spChg chg="add mod">
          <ac:chgData name="Bantei Sangma [Chillibreeze]" userId="e7070ce9-26a8-4d3a-99f4-f2ac4567d4da" providerId="ADAL" clId="{6AB8A73D-CDEF-4FB5-9165-71445BE59506}" dt="2020-07-10T14:34:11.125" v="485" actId="1076"/>
          <ac:spMkLst>
            <pc:docMk/>
            <pc:sldMk cId="171335779" sldId="1953"/>
            <ac:spMk id="31" creationId="{CA570385-CC8F-4203-B88F-0F2E02415176}"/>
          </ac:spMkLst>
        </pc:spChg>
        <pc:grpChg chg="mod">
          <ac:chgData name="Bantei Sangma [Chillibreeze]" userId="e7070ce9-26a8-4d3a-99f4-f2ac4567d4da" providerId="ADAL" clId="{6AB8A73D-CDEF-4FB5-9165-71445BE59506}" dt="2020-07-10T14:34:11.125" v="485" actId="1076"/>
          <ac:grpSpMkLst>
            <pc:docMk/>
            <pc:sldMk cId="171335779" sldId="1953"/>
            <ac:grpSpMk id="5" creationId="{69FF46A5-ECD2-459C-9C2A-DD65D257F07C}"/>
          </ac:grpSpMkLst>
        </pc:grpChg>
        <pc:grpChg chg="del">
          <ac:chgData name="Bantei Sangma [Chillibreeze]" userId="e7070ce9-26a8-4d3a-99f4-f2ac4567d4da" providerId="ADAL" clId="{6AB8A73D-CDEF-4FB5-9165-71445BE59506}" dt="2020-07-10T12:20:00.195" v="387" actId="478"/>
          <ac:grpSpMkLst>
            <pc:docMk/>
            <pc:sldMk cId="171335779" sldId="1953"/>
            <ac:grpSpMk id="11" creationId="{E3D8AD41-0983-4B99-B742-C72278B98A84}"/>
          </ac:grpSpMkLst>
        </pc:grpChg>
        <pc:grpChg chg="del">
          <ac:chgData name="Bantei Sangma [Chillibreeze]" userId="e7070ce9-26a8-4d3a-99f4-f2ac4567d4da" providerId="ADAL" clId="{6AB8A73D-CDEF-4FB5-9165-71445BE59506}" dt="2020-07-10T12:20:00.195" v="387" actId="478"/>
          <ac:grpSpMkLst>
            <pc:docMk/>
            <pc:sldMk cId="171335779" sldId="1953"/>
            <ac:grpSpMk id="17" creationId="{5125265A-9C25-4CFD-94B2-9C0BDCEBF94E}"/>
          </ac:grpSpMkLst>
        </pc:grpChg>
        <pc:grpChg chg="del">
          <ac:chgData name="Bantei Sangma [Chillibreeze]" userId="e7070ce9-26a8-4d3a-99f4-f2ac4567d4da" providerId="ADAL" clId="{6AB8A73D-CDEF-4FB5-9165-71445BE59506}" dt="2020-07-10T12:20:00.195" v="387" actId="478"/>
          <ac:grpSpMkLst>
            <pc:docMk/>
            <pc:sldMk cId="171335779" sldId="1953"/>
            <ac:grpSpMk id="23" creationId="{266BC25A-F5C6-4F70-9614-B4EB15ED8DF5}"/>
          </ac:grpSpMkLst>
        </pc:grpChg>
        <pc:picChg chg="mod">
          <ac:chgData name="Bantei Sangma [Chillibreeze]" userId="e7070ce9-26a8-4d3a-99f4-f2ac4567d4da" providerId="ADAL" clId="{6AB8A73D-CDEF-4FB5-9165-71445BE59506}" dt="2020-07-10T14:34:11.125" v="485" actId="1076"/>
          <ac:picMkLst>
            <pc:docMk/>
            <pc:sldMk cId="171335779" sldId="1953"/>
            <ac:picMk id="28" creationId="{D675B7DB-A7B9-414D-9DD6-5471EEF274CF}"/>
          </ac:picMkLst>
        </pc:picChg>
        <pc:picChg chg="del">
          <ac:chgData name="Bantei Sangma [Chillibreeze]" userId="e7070ce9-26a8-4d3a-99f4-f2ac4567d4da" providerId="ADAL" clId="{6AB8A73D-CDEF-4FB5-9165-71445BE59506}" dt="2020-07-10T12:20:00.195" v="387" actId="478"/>
          <ac:picMkLst>
            <pc:docMk/>
            <pc:sldMk cId="171335779" sldId="1953"/>
            <ac:picMk id="29" creationId="{24D53EC0-5850-4709-A552-DA6106286714}"/>
          </ac:picMkLst>
        </pc:picChg>
        <pc:picChg chg="del">
          <ac:chgData name="Bantei Sangma [Chillibreeze]" userId="e7070ce9-26a8-4d3a-99f4-f2ac4567d4da" providerId="ADAL" clId="{6AB8A73D-CDEF-4FB5-9165-71445BE59506}" dt="2020-07-10T12:20:00.195" v="387" actId="478"/>
          <ac:picMkLst>
            <pc:docMk/>
            <pc:sldMk cId="171335779" sldId="1953"/>
            <ac:picMk id="30" creationId="{F81EF16A-8829-472C-9277-631ADEB2ECBF}"/>
          </ac:picMkLst>
        </pc:picChg>
        <pc:picChg chg="del">
          <ac:chgData name="Bantei Sangma [Chillibreeze]" userId="e7070ce9-26a8-4d3a-99f4-f2ac4567d4da" providerId="ADAL" clId="{6AB8A73D-CDEF-4FB5-9165-71445BE59506}" dt="2020-07-10T12:20:00.195" v="387" actId="478"/>
          <ac:picMkLst>
            <pc:docMk/>
            <pc:sldMk cId="171335779" sldId="1953"/>
            <ac:picMk id="33" creationId="{AEF8D1FE-ACFC-40B3-9970-3A1673B11850}"/>
          </ac:picMkLst>
        </pc:picChg>
        <pc:cxnChg chg="del">
          <ac:chgData name="Bantei Sangma [Chillibreeze]" userId="e7070ce9-26a8-4d3a-99f4-f2ac4567d4da" providerId="ADAL" clId="{6AB8A73D-CDEF-4FB5-9165-71445BE59506}" dt="2020-07-10T12:20:01.448" v="388" actId="478"/>
          <ac:cxnSpMkLst>
            <pc:docMk/>
            <pc:sldMk cId="171335779" sldId="1953"/>
            <ac:cxnSpMk id="10" creationId="{C4832A3C-505B-41BB-A2DC-07B66BD04A6A}"/>
          </ac:cxnSpMkLst>
        </pc:cxnChg>
        <pc:cxnChg chg="del">
          <ac:chgData name="Bantei Sangma [Chillibreeze]" userId="e7070ce9-26a8-4d3a-99f4-f2ac4567d4da" providerId="ADAL" clId="{6AB8A73D-CDEF-4FB5-9165-71445BE59506}" dt="2020-07-10T12:20:00.195" v="387" actId="478"/>
          <ac:cxnSpMkLst>
            <pc:docMk/>
            <pc:sldMk cId="171335779" sldId="1953"/>
            <ac:cxnSpMk id="16" creationId="{C0FBE1AA-7CD9-4296-A672-C41B45501F94}"/>
          </ac:cxnSpMkLst>
        </pc:cxnChg>
        <pc:cxnChg chg="del">
          <ac:chgData name="Bantei Sangma [Chillibreeze]" userId="e7070ce9-26a8-4d3a-99f4-f2ac4567d4da" providerId="ADAL" clId="{6AB8A73D-CDEF-4FB5-9165-71445BE59506}" dt="2020-07-10T12:20:00.195" v="387" actId="478"/>
          <ac:cxnSpMkLst>
            <pc:docMk/>
            <pc:sldMk cId="171335779" sldId="1953"/>
            <ac:cxnSpMk id="22" creationId="{B80FB1C9-668D-48B4-AF4D-3E799DDE4BD5}"/>
          </ac:cxnSpMkLst>
        </pc:cxnChg>
      </pc:sldChg>
      <pc:sldChg chg="modSp add mod">
        <pc:chgData name="Bantei Sangma [Chillibreeze]" userId="e7070ce9-26a8-4d3a-99f4-f2ac4567d4da" providerId="ADAL" clId="{6AB8A73D-CDEF-4FB5-9165-71445BE59506}" dt="2020-07-10T17:07:54.141" v="726" actId="3064"/>
        <pc:sldMkLst>
          <pc:docMk/>
          <pc:sldMk cId="1152369062" sldId="1954"/>
        </pc:sldMkLst>
        <pc:spChg chg="mod">
          <ac:chgData name="Bantei Sangma [Chillibreeze]" userId="e7070ce9-26a8-4d3a-99f4-f2ac4567d4da" providerId="ADAL" clId="{6AB8A73D-CDEF-4FB5-9165-71445BE59506}" dt="2020-07-10T17:07:54.141" v="726" actId="3064"/>
          <ac:spMkLst>
            <pc:docMk/>
            <pc:sldMk cId="1152369062" sldId="1954"/>
            <ac:spMk id="4" creationId="{1D0062D8-2123-4E48-A0CF-E93D4837541A}"/>
          </ac:spMkLst>
        </pc:spChg>
        <pc:spChg chg="mod">
          <ac:chgData name="Bantei Sangma [Chillibreeze]" userId="e7070ce9-26a8-4d3a-99f4-f2ac4567d4da" providerId="ADAL" clId="{6AB8A73D-CDEF-4FB5-9165-71445BE59506}" dt="2020-07-10T17:07:54.141" v="726" actId="3064"/>
          <ac:spMkLst>
            <pc:docMk/>
            <pc:sldMk cId="1152369062" sldId="1954"/>
            <ac:spMk id="5" creationId="{55C80776-2AE1-47C4-B0FD-A170FAC6B8E4}"/>
          </ac:spMkLst>
        </pc:spChg>
        <pc:spChg chg="mod">
          <ac:chgData name="Bantei Sangma [Chillibreeze]" userId="e7070ce9-26a8-4d3a-99f4-f2ac4567d4da" providerId="ADAL" clId="{6AB8A73D-CDEF-4FB5-9165-71445BE59506}" dt="2020-07-10T17:07:54.141" v="726" actId="3064"/>
          <ac:spMkLst>
            <pc:docMk/>
            <pc:sldMk cId="1152369062" sldId="1954"/>
            <ac:spMk id="6" creationId="{B2886395-8C18-49D0-AFF5-F6A04AE00ADF}"/>
          </ac:spMkLst>
        </pc:spChg>
      </pc:sldChg>
      <pc:sldChg chg="addSp delSp modSp add mod">
        <pc:chgData name="Bantei Sangma [Chillibreeze]" userId="e7070ce9-26a8-4d3a-99f4-f2ac4567d4da" providerId="ADAL" clId="{6AB8A73D-CDEF-4FB5-9165-71445BE59506}" dt="2020-07-10T17:08:56.904" v="730" actId="12789"/>
        <pc:sldMkLst>
          <pc:docMk/>
          <pc:sldMk cId="3465062807" sldId="1955"/>
        </pc:sldMkLst>
        <pc:spChg chg="mod">
          <ac:chgData name="Bantei Sangma [Chillibreeze]" userId="e7070ce9-26a8-4d3a-99f4-f2ac4567d4da" providerId="ADAL" clId="{6AB8A73D-CDEF-4FB5-9165-71445BE59506}" dt="2020-07-10T17:08:56.904" v="730" actId="12789"/>
          <ac:spMkLst>
            <pc:docMk/>
            <pc:sldMk cId="3465062807" sldId="1955"/>
            <ac:spMk id="41" creationId="{A4074F7C-1E1E-4F5D-9519-7F86A3B789E3}"/>
          </ac:spMkLst>
        </pc:spChg>
        <pc:spChg chg="mod ord">
          <ac:chgData name="Bantei Sangma [Chillibreeze]" userId="e7070ce9-26a8-4d3a-99f4-f2ac4567d4da" providerId="ADAL" clId="{6AB8A73D-CDEF-4FB5-9165-71445BE59506}" dt="2020-07-10T17:08:22.389" v="727" actId="2711"/>
          <ac:spMkLst>
            <pc:docMk/>
            <pc:sldMk cId="3465062807" sldId="1955"/>
            <ac:spMk id="42" creationId="{9CE875F1-2051-44B5-9DF5-7372FB48BFA8}"/>
          </ac:spMkLst>
        </pc:spChg>
        <pc:spChg chg="del mod">
          <ac:chgData name="Bantei Sangma [Chillibreeze]" userId="e7070ce9-26a8-4d3a-99f4-f2ac4567d4da" providerId="ADAL" clId="{6AB8A73D-CDEF-4FB5-9165-71445BE59506}" dt="2020-07-10T12:22:38.492" v="420" actId="478"/>
          <ac:spMkLst>
            <pc:docMk/>
            <pc:sldMk cId="3465062807" sldId="1955"/>
            <ac:spMk id="43" creationId="{8159D243-DE32-4EC0-BCC7-C43C5CDD2FED}"/>
          </ac:spMkLst>
        </pc:spChg>
        <pc:spChg chg="del">
          <ac:chgData name="Bantei Sangma [Chillibreeze]" userId="e7070ce9-26a8-4d3a-99f4-f2ac4567d4da" providerId="ADAL" clId="{6AB8A73D-CDEF-4FB5-9165-71445BE59506}" dt="2020-07-10T12:21:48.320" v="404" actId="478"/>
          <ac:spMkLst>
            <pc:docMk/>
            <pc:sldMk cId="3465062807" sldId="1955"/>
            <ac:spMk id="44" creationId="{B4C54F37-58B3-45F2-A2C3-72970EB5FEE1}"/>
          </ac:spMkLst>
        </pc:spChg>
        <pc:spChg chg="del">
          <ac:chgData name="Bantei Sangma [Chillibreeze]" userId="e7070ce9-26a8-4d3a-99f4-f2ac4567d4da" providerId="ADAL" clId="{6AB8A73D-CDEF-4FB5-9165-71445BE59506}" dt="2020-07-10T12:21:48.320" v="404" actId="478"/>
          <ac:spMkLst>
            <pc:docMk/>
            <pc:sldMk cId="3465062807" sldId="1955"/>
            <ac:spMk id="45" creationId="{237610C6-9400-40A4-95D5-403F31AAE374}"/>
          </ac:spMkLst>
        </pc:spChg>
        <pc:spChg chg="del">
          <ac:chgData name="Bantei Sangma [Chillibreeze]" userId="e7070ce9-26a8-4d3a-99f4-f2ac4567d4da" providerId="ADAL" clId="{6AB8A73D-CDEF-4FB5-9165-71445BE59506}" dt="2020-07-10T12:21:48.320" v="404" actId="478"/>
          <ac:spMkLst>
            <pc:docMk/>
            <pc:sldMk cId="3465062807" sldId="1955"/>
            <ac:spMk id="46" creationId="{84BCBDE3-D1DA-418C-BDF2-2FC7A2E5D641}"/>
          </ac:spMkLst>
        </pc:spChg>
        <pc:spChg chg="add mod">
          <ac:chgData name="Bantei Sangma [Chillibreeze]" userId="e7070ce9-26a8-4d3a-99f4-f2ac4567d4da" providerId="ADAL" clId="{6AB8A73D-CDEF-4FB5-9165-71445BE59506}" dt="2020-07-10T14:45:24.233" v="624" actId="1036"/>
          <ac:spMkLst>
            <pc:docMk/>
            <pc:sldMk cId="3465062807" sldId="1955"/>
            <ac:spMk id="47" creationId="{C2951750-11E6-4E4B-858C-80DD884D9232}"/>
          </ac:spMkLst>
        </pc:spChg>
        <pc:grpChg chg="add mod">
          <ac:chgData name="Bantei Sangma [Chillibreeze]" userId="e7070ce9-26a8-4d3a-99f4-f2ac4567d4da" providerId="ADAL" clId="{6AB8A73D-CDEF-4FB5-9165-71445BE59506}" dt="2020-07-10T17:08:50.600" v="729" actId="164"/>
          <ac:grpSpMkLst>
            <pc:docMk/>
            <pc:sldMk cId="3465062807" sldId="1955"/>
            <ac:grpSpMk id="3" creationId="{62EFB8DF-AB51-40FB-A2F1-4CD5D263FC59}"/>
          </ac:grpSpMkLst>
        </pc:grpChg>
        <pc:grpChg chg="add del mod">
          <ac:chgData name="Bantei Sangma [Chillibreeze]" userId="e7070ce9-26a8-4d3a-99f4-f2ac4567d4da" providerId="ADAL" clId="{6AB8A73D-CDEF-4FB5-9165-71445BE59506}" dt="2020-07-10T12:24:35.382" v="450" actId="165"/>
          <ac:grpSpMkLst>
            <pc:docMk/>
            <pc:sldMk cId="3465062807" sldId="1955"/>
            <ac:grpSpMk id="3" creationId="{C5A684E3-DAC9-4E5E-BBB9-80F057774B91}"/>
          </ac:grpSpMkLst>
        </pc:grpChg>
        <pc:grpChg chg="mod">
          <ac:chgData name="Bantei Sangma [Chillibreeze]" userId="e7070ce9-26a8-4d3a-99f4-f2ac4567d4da" providerId="ADAL" clId="{6AB8A73D-CDEF-4FB5-9165-71445BE59506}" dt="2020-07-10T17:08:50.600" v="729" actId="164"/>
          <ac:grpSpMkLst>
            <pc:docMk/>
            <pc:sldMk cId="3465062807" sldId="1955"/>
            <ac:grpSpMk id="10" creationId="{89C55D91-11B6-4B6E-8138-2DFC49DFCA50}"/>
          </ac:grpSpMkLst>
        </pc:grpChg>
        <pc:grpChg chg="mod">
          <ac:chgData name="Bantei Sangma [Chillibreeze]" userId="e7070ce9-26a8-4d3a-99f4-f2ac4567d4da" providerId="ADAL" clId="{6AB8A73D-CDEF-4FB5-9165-71445BE59506}" dt="2020-07-10T14:45:24.233" v="624" actId="1036"/>
          <ac:grpSpMkLst>
            <pc:docMk/>
            <pc:sldMk cId="3465062807" sldId="1955"/>
            <ac:grpSpMk id="13" creationId="{F94EC889-3234-4146-BF18-F975E368761F}"/>
          </ac:grpSpMkLst>
        </pc:grpChg>
        <pc:grpChg chg="del">
          <ac:chgData name="Bantei Sangma [Chillibreeze]" userId="e7070ce9-26a8-4d3a-99f4-f2ac4567d4da" providerId="ADAL" clId="{6AB8A73D-CDEF-4FB5-9165-71445BE59506}" dt="2020-07-10T12:21:48.320" v="404" actId="478"/>
          <ac:grpSpMkLst>
            <pc:docMk/>
            <pc:sldMk cId="3465062807" sldId="1955"/>
            <ac:grpSpMk id="18" creationId="{349E5F54-8809-4218-8B88-52AD67223D1A}"/>
          </ac:grpSpMkLst>
        </pc:grpChg>
        <pc:grpChg chg="del">
          <ac:chgData name="Bantei Sangma [Chillibreeze]" userId="e7070ce9-26a8-4d3a-99f4-f2ac4567d4da" providerId="ADAL" clId="{6AB8A73D-CDEF-4FB5-9165-71445BE59506}" dt="2020-07-10T12:21:48.320" v="404" actId="478"/>
          <ac:grpSpMkLst>
            <pc:docMk/>
            <pc:sldMk cId="3465062807" sldId="1955"/>
            <ac:grpSpMk id="23" creationId="{0B74F4EC-3D96-443E-A077-0D114E3DBAEF}"/>
          </ac:grpSpMkLst>
        </pc:grpChg>
        <pc:grpChg chg="del">
          <ac:chgData name="Bantei Sangma [Chillibreeze]" userId="e7070ce9-26a8-4d3a-99f4-f2ac4567d4da" providerId="ADAL" clId="{6AB8A73D-CDEF-4FB5-9165-71445BE59506}" dt="2020-07-10T12:21:48.320" v="404" actId="478"/>
          <ac:grpSpMkLst>
            <pc:docMk/>
            <pc:sldMk cId="3465062807" sldId="1955"/>
            <ac:grpSpMk id="28" creationId="{4A5D603F-849B-4E9F-BE31-B2AF609CDF47}"/>
          </ac:grpSpMkLst>
        </pc:grpChg>
        <pc:grpChg chg="mod">
          <ac:chgData name="Bantei Sangma [Chillibreeze]" userId="e7070ce9-26a8-4d3a-99f4-f2ac4567d4da" providerId="ADAL" clId="{6AB8A73D-CDEF-4FB5-9165-71445BE59506}" dt="2020-07-10T17:08:56.904" v="730" actId="12789"/>
          <ac:grpSpMkLst>
            <pc:docMk/>
            <pc:sldMk cId="3465062807" sldId="1955"/>
            <ac:grpSpMk id="51" creationId="{C55A8517-43C3-4A3F-ADFD-D971115141D4}"/>
          </ac:grpSpMkLst>
        </pc:grpChg>
        <pc:picChg chg="mod">
          <ac:chgData name="Bantei Sangma [Chillibreeze]" userId="e7070ce9-26a8-4d3a-99f4-f2ac4567d4da" providerId="ADAL" clId="{6AB8A73D-CDEF-4FB5-9165-71445BE59506}" dt="2020-07-10T17:08:50.600" v="729" actId="164"/>
          <ac:picMkLst>
            <pc:docMk/>
            <pc:sldMk cId="3465062807" sldId="1955"/>
            <ac:picMk id="48" creationId="{0561A074-3DFA-4B83-B942-99CF3D7AF4DE}"/>
          </ac:picMkLst>
        </pc:picChg>
        <pc:picChg chg="del">
          <ac:chgData name="Bantei Sangma [Chillibreeze]" userId="e7070ce9-26a8-4d3a-99f4-f2ac4567d4da" providerId="ADAL" clId="{6AB8A73D-CDEF-4FB5-9165-71445BE59506}" dt="2020-07-10T12:21:48.320" v="404" actId="478"/>
          <ac:picMkLst>
            <pc:docMk/>
            <pc:sldMk cId="3465062807" sldId="1955"/>
            <ac:picMk id="49" creationId="{9720CBA4-BCE7-4A9F-A9AD-3939311EF657}"/>
          </ac:picMkLst>
        </pc:picChg>
        <pc:cxnChg chg="mod topLvl">
          <ac:chgData name="Bantei Sangma [Chillibreeze]" userId="e7070ce9-26a8-4d3a-99f4-f2ac4567d4da" providerId="ADAL" clId="{6AB8A73D-CDEF-4FB5-9165-71445BE59506}" dt="2020-07-10T14:45:24.233" v="624" actId="1036"/>
          <ac:cxnSpMkLst>
            <pc:docMk/>
            <pc:sldMk cId="3465062807" sldId="1955"/>
            <ac:cxnSpMk id="9" creationId="{67BE210C-375D-43EF-A252-5156D154890D}"/>
          </ac:cxnSpMkLst>
        </pc:cxnChg>
        <pc:cxnChg chg="del">
          <ac:chgData name="Bantei Sangma [Chillibreeze]" userId="e7070ce9-26a8-4d3a-99f4-f2ac4567d4da" providerId="ADAL" clId="{6AB8A73D-CDEF-4FB5-9165-71445BE59506}" dt="2020-07-10T12:21:50.255" v="405" actId="478"/>
          <ac:cxnSpMkLst>
            <pc:docMk/>
            <pc:sldMk cId="3465062807" sldId="1955"/>
            <ac:cxnSpMk id="36" creationId="{1D8AA3CD-59A0-4D07-82AE-2362B37A9997}"/>
          </ac:cxnSpMkLst>
        </pc:cxnChg>
        <pc:cxnChg chg="mod topLvl">
          <ac:chgData name="Bantei Sangma [Chillibreeze]" userId="e7070ce9-26a8-4d3a-99f4-f2ac4567d4da" providerId="ADAL" clId="{6AB8A73D-CDEF-4FB5-9165-71445BE59506}" dt="2020-07-10T14:45:24.233" v="624" actId="1036"/>
          <ac:cxnSpMkLst>
            <pc:docMk/>
            <pc:sldMk cId="3465062807" sldId="1955"/>
            <ac:cxnSpMk id="37" creationId="{6EBEA3CE-073E-44F2-97C7-0BC8CD1C2702}"/>
          </ac:cxnSpMkLst>
        </pc:cxnChg>
        <pc:cxnChg chg="del">
          <ac:chgData name="Bantei Sangma [Chillibreeze]" userId="e7070ce9-26a8-4d3a-99f4-f2ac4567d4da" providerId="ADAL" clId="{6AB8A73D-CDEF-4FB5-9165-71445BE59506}" dt="2020-07-10T12:21:48.320" v="404" actId="478"/>
          <ac:cxnSpMkLst>
            <pc:docMk/>
            <pc:sldMk cId="3465062807" sldId="1955"/>
            <ac:cxnSpMk id="38" creationId="{430B1191-1FF0-41F4-AFCF-74B12F6E8E5B}"/>
          </ac:cxnSpMkLst>
        </pc:cxnChg>
        <pc:cxnChg chg="del">
          <ac:chgData name="Bantei Sangma [Chillibreeze]" userId="e7070ce9-26a8-4d3a-99f4-f2ac4567d4da" providerId="ADAL" clId="{6AB8A73D-CDEF-4FB5-9165-71445BE59506}" dt="2020-07-10T12:21:48.320" v="404" actId="478"/>
          <ac:cxnSpMkLst>
            <pc:docMk/>
            <pc:sldMk cId="3465062807" sldId="1955"/>
            <ac:cxnSpMk id="39" creationId="{5A595456-5A6A-4716-B2CE-6ED95FC09D64}"/>
          </ac:cxnSpMkLst>
        </pc:cxnChg>
      </pc:sldChg>
      <pc:sldChg chg="modSp add del mod modClrScheme chgLayout">
        <pc:chgData name="Bantei Sangma [Chillibreeze]" userId="e7070ce9-26a8-4d3a-99f4-f2ac4567d4da" providerId="ADAL" clId="{6AB8A73D-CDEF-4FB5-9165-71445BE59506}" dt="2020-07-10T12:25:24.804" v="456" actId="47"/>
        <pc:sldMkLst>
          <pc:docMk/>
          <pc:sldMk cId="1065413711" sldId="1956"/>
        </pc:sldMkLst>
        <pc:spChg chg="mod ord">
          <ac:chgData name="Bantei Sangma [Chillibreeze]" userId="e7070ce9-26a8-4d3a-99f4-f2ac4567d4da" providerId="ADAL" clId="{6AB8A73D-CDEF-4FB5-9165-71445BE59506}" dt="2020-07-10T12:14:42.723" v="252" actId="700"/>
          <ac:spMkLst>
            <pc:docMk/>
            <pc:sldMk cId="1065413711" sldId="1956"/>
            <ac:spMk id="4" creationId="{0CD8665D-5A50-4F07-9D33-48CCD3FD74C7}"/>
          </ac:spMkLst>
        </pc:spChg>
        <pc:picChg chg="mod">
          <ac:chgData name="Bantei Sangma [Chillibreeze]" userId="e7070ce9-26a8-4d3a-99f4-f2ac4567d4da" providerId="ADAL" clId="{6AB8A73D-CDEF-4FB5-9165-71445BE59506}" dt="2020-07-10T12:15:28.205" v="265" actId="1076"/>
          <ac:picMkLst>
            <pc:docMk/>
            <pc:sldMk cId="1065413711" sldId="1956"/>
            <ac:picMk id="6" creationId="{0591EBCD-7950-4A5C-9031-691E1ADDF00E}"/>
          </ac:picMkLst>
        </pc:picChg>
      </pc:sldChg>
      <pc:sldMasterChg chg="addSldLayout delSldLayout modSldLayout">
        <pc:chgData name="Bantei Sangma [Chillibreeze]" userId="e7070ce9-26a8-4d3a-99f4-f2ac4567d4da" providerId="ADAL" clId="{6AB8A73D-CDEF-4FB5-9165-71445BE59506}" dt="2020-07-10T14:54:54.772" v="651"/>
        <pc:sldMasterMkLst>
          <pc:docMk/>
          <pc:sldMasterMk cId="1881724970" sldId="2147484551"/>
        </pc:sldMasterMkLst>
        <pc:sldLayoutChg chg="modSp">
          <pc:chgData name="Bantei Sangma [Chillibreeze]" userId="e7070ce9-26a8-4d3a-99f4-f2ac4567d4da" providerId="ADAL" clId="{6AB8A73D-CDEF-4FB5-9165-71445BE59506}" dt="2020-07-10T14:54:54.772" v="651"/>
          <pc:sldLayoutMkLst>
            <pc:docMk/>
            <pc:sldMasterMk cId="1881724970" sldId="2147484551"/>
            <pc:sldLayoutMk cId="2254410227" sldId="2147484623"/>
          </pc:sldLayoutMkLst>
          <pc:spChg chg="mod">
            <ac:chgData name="Bantei Sangma [Chillibreeze]" userId="e7070ce9-26a8-4d3a-99f4-f2ac4567d4da" providerId="ADAL" clId="{6AB8A73D-CDEF-4FB5-9165-71445BE59506}" dt="2020-07-10T14:54:54.772" v="651"/>
            <ac:spMkLst>
              <pc:docMk/>
              <pc:sldMasterMk cId="1881724970" sldId="2147484551"/>
              <pc:sldLayoutMk cId="2254410227" sldId="2147484623"/>
              <ac:spMk id="12" creationId="{A8F5F40B-56C9-1D43-9521-8583515F1C5D}"/>
            </ac:spMkLst>
          </pc:spChg>
        </pc:sldLayoutChg>
        <pc:sldLayoutChg chg="add del">
          <pc:chgData name="Bantei Sangma [Chillibreeze]" userId="e7070ce9-26a8-4d3a-99f4-f2ac4567d4da" providerId="ADAL" clId="{6AB8A73D-CDEF-4FB5-9165-71445BE59506}" dt="2020-07-10T12:16:09.686" v="276" actId="2696"/>
          <pc:sldLayoutMkLst>
            <pc:docMk/>
            <pc:sldMasterMk cId="1881724970" sldId="2147484551"/>
            <pc:sldLayoutMk cId="1323372674" sldId="2147484624"/>
          </pc:sldLayoutMkLst>
        </pc:sldLayoutChg>
      </pc:sldMasterChg>
    </pc:docChg>
  </pc:docChgLst>
  <pc:docChgLst>
    <pc:chgData name="Bantei Sangma [Chillibreeze]" userId="e7070ce9-26a8-4d3a-99f4-f2ac4567d4da" providerId="ADAL" clId="{CFF9C8AC-91C6-4F66-919E-79B541F6FF2E}"/>
    <pc:docChg chg="undo redo custSel addSld delSld modSld modMainMaster modSection">
      <pc:chgData name="Bantei Sangma [Chillibreeze]" userId="e7070ce9-26a8-4d3a-99f4-f2ac4567d4da" providerId="ADAL" clId="{CFF9C8AC-91C6-4F66-919E-79B541F6FF2E}" dt="2020-07-10T11:33:58.393" v="4494" actId="692"/>
      <pc:docMkLst>
        <pc:docMk/>
      </pc:docMkLst>
      <pc:sldChg chg="del">
        <pc:chgData name="Bantei Sangma [Chillibreeze]" userId="e7070ce9-26a8-4d3a-99f4-f2ac4567d4da" providerId="ADAL" clId="{CFF9C8AC-91C6-4F66-919E-79B541F6FF2E}" dt="2020-07-10T08:38:46.430" v="1927" actId="47"/>
        <pc:sldMkLst>
          <pc:docMk/>
          <pc:sldMk cId="538405057" sldId="270"/>
        </pc:sldMkLst>
      </pc:sldChg>
      <pc:sldChg chg="addSp delSp modSp mod">
        <pc:chgData name="Bantei Sangma [Chillibreeze]" userId="e7070ce9-26a8-4d3a-99f4-f2ac4567d4da" providerId="ADAL" clId="{CFF9C8AC-91C6-4F66-919E-79B541F6FF2E}" dt="2020-07-10T11:28:56.927" v="4476" actId="207"/>
        <pc:sldMkLst>
          <pc:docMk/>
          <pc:sldMk cId="1548455647" sldId="1494"/>
        </pc:sldMkLst>
        <pc:spChg chg="mod">
          <ac:chgData name="Bantei Sangma [Chillibreeze]" userId="e7070ce9-26a8-4d3a-99f4-f2ac4567d4da" providerId="ADAL" clId="{CFF9C8AC-91C6-4F66-919E-79B541F6FF2E}" dt="2020-07-10T05:57:51.801" v="28" actId="552"/>
          <ac:spMkLst>
            <pc:docMk/>
            <pc:sldMk cId="1548455647" sldId="1494"/>
            <ac:spMk id="2" creationId="{68B12007-FCCD-4CDA-A543-235BA547DD2F}"/>
          </ac:spMkLst>
        </pc:spChg>
        <pc:spChg chg="add mod">
          <ac:chgData name="Bantei Sangma [Chillibreeze]" userId="e7070ce9-26a8-4d3a-99f4-f2ac4567d4da" providerId="ADAL" clId="{CFF9C8AC-91C6-4F66-919E-79B541F6FF2E}" dt="2020-07-10T11:07:02.684" v="3702" actId="2711"/>
          <ac:spMkLst>
            <pc:docMk/>
            <pc:sldMk cId="1548455647" sldId="1494"/>
            <ac:spMk id="3" creationId="{F3B47DCC-CF95-4340-97F5-8B4D3A86191F}"/>
          </ac:spMkLst>
        </pc:spChg>
        <pc:spChg chg="mod topLvl">
          <ac:chgData name="Bantei Sangma [Chillibreeze]" userId="e7070ce9-26a8-4d3a-99f4-f2ac4567d4da" providerId="ADAL" clId="{CFF9C8AC-91C6-4F66-919E-79B541F6FF2E}" dt="2020-07-10T06:00:57.796" v="61" actId="164"/>
          <ac:spMkLst>
            <pc:docMk/>
            <pc:sldMk cId="1548455647" sldId="1494"/>
            <ac:spMk id="5" creationId="{5F1AD359-C86A-4B34-8184-79557FE81FC4}"/>
          </ac:spMkLst>
        </pc:spChg>
        <pc:spChg chg="mod topLvl">
          <ac:chgData name="Bantei Sangma [Chillibreeze]" userId="e7070ce9-26a8-4d3a-99f4-f2ac4567d4da" providerId="ADAL" clId="{CFF9C8AC-91C6-4F66-919E-79B541F6FF2E}" dt="2020-07-10T06:00:57.796" v="61" actId="164"/>
          <ac:spMkLst>
            <pc:docMk/>
            <pc:sldMk cId="1548455647" sldId="1494"/>
            <ac:spMk id="6" creationId="{3870FD59-E5EA-4425-A7EA-465D9AF705DC}"/>
          </ac:spMkLst>
        </pc:spChg>
        <pc:spChg chg="mod topLvl">
          <ac:chgData name="Bantei Sangma [Chillibreeze]" userId="e7070ce9-26a8-4d3a-99f4-f2ac4567d4da" providerId="ADAL" clId="{CFF9C8AC-91C6-4F66-919E-79B541F6FF2E}" dt="2020-07-10T11:28:56.927" v="4476" actId="207"/>
          <ac:spMkLst>
            <pc:docMk/>
            <pc:sldMk cId="1548455647" sldId="1494"/>
            <ac:spMk id="8" creationId="{3D966DCD-B749-4593-8793-BCD1FCE8E548}"/>
          </ac:spMkLst>
        </pc:spChg>
        <pc:spChg chg="del mod">
          <ac:chgData name="Bantei Sangma [Chillibreeze]" userId="e7070ce9-26a8-4d3a-99f4-f2ac4567d4da" providerId="ADAL" clId="{CFF9C8AC-91C6-4F66-919E-79B541F6FF2E}" dt="2020-07-10T05:59:04.742" v="29" actId="478"/>
          <ac:spMkLst>
            <pc:docMk/>
            <pc:sldMk cId="1548455647" sldId="1494"/>
            <ac:spMk id="14" creationId="{EED1630D-10D7-4ECB-8BAA-5F6E77B48F5E}"/>
          </ac:spMkLst>
        </pc:spChg>
        <pc:spChg chg="del mod">
          <ac:chgData name="Bantei Sangma [Chillibreeze]" userId="e7070ce9-26a8-4d3a-99f4-f2ac4567d4da" providerId="ADAL" clId="{CFF9C8AC-91C6-4F66-919E-79B541F6FF2E}" dt="2020-07-10T05:59:04.742" v="29" actId="478"/>
          <ac:spMkLst>
            <pc:docMk/>
            <pc:sldMk cId="1548455647" sldId="1494"/>
            <ac:spMk id="20" creationId="{3ABD6AB4-046E-4DE2-9193-464F1B799C3A}"/>
          </ac:spMkLst>
        </pc:spChg>
        <pc:spChg chg="add del mod">
          <ac:chgData name="Bantei Sangma [Chillibreeze]" userId="e7070ce9-26a8-4d3a-99f4-f2ac4567d4da" providerId="ADAL" clId="{CFF9C8AC-91C6-4F66-919E-79B541F6FF2E}" dt="2020-07-10T06:00:21.842" v="55" actId="478"/>
          <ac:spMkLst>
            <pc:docMk/>
            <pc:sldMk cId="1548455647" sldId="1494"/>
            <ac:spMk id="21" creationId="{159F446B-FCC0-45ED-97E9-1BC7D83D4A76}"/>
          </ac:spMkLst>
        </pc:spChg>
        <pc:spChg chg="add del mod ord">
          <ac:chgData name="Bantei Sangma [Chillibreeze]" userId="e7070ce9-26a8-4d3a-99f4-f2ac4567d4da" providerId="ADAL" clId="{CFF9C8AC-91C6-4F66-919E-79B541F6FF2E}" dt="2020-07-10T09:24:32.628" v="2738" actId="478"/>
          <ac:spMkLst>
            <pc:docMk/>
            <pc:sldMk cId="1548455647" sldId="1494"/>
            <ac:spMk id="25" creationId="{946780C9-928B-4A1F-809D-3E11F4B12BA8}"/>
          </ac:spMkLst>
        </pc:spChg>
        <pc:grpChg chg="del mod">
          <ac:chgData name="Bantei Sangma [Chillibreeze]" userId="e7070ce9-26a8-4d3a-99f4-f2ac4567d4da" providerId="ADAL" clId="{CFF9C8AC-91C6-4F66-919E-79B541F6FF2E}" dt="2020-07-10T06:00:53.248" v="60" actId="165"/>
          <ac:grpSpMkLst>
            <pc:docMk/>
            <pc:sldMk cId="1548455647" sldId="1494"/>
            <ac:grpSpMk id="4" creationId="{532E63DD-732F-4D8F-B53A-5B0D0ECB976B}"/>
          </ac:grpSpMkLst>
        </pc:grpChg>
        <pc:grpChg chg="del mod">
          <ac:chgData name="Bantei Sangma [Chillibreeze]" userId="e7070ce9-26a8-4d3a-99f4-f2ac4567d4da" providerId="ADAL" clId="{CFF9C8AC-91C6-4F66-919E-79B541F6FF2E}" dt="2020-07-10T05:59:04.742" v="29" actId="478"/>
          <ac:grpSpMkLst>
            <pc:docMk/>
            <pc:sldMk cId="1548455647" sldId="1494"/>
            <ac:grpSpMk id="10" creationId="{BF1C5C51-09B0-420D-BBC8-A62A77C944F6}"/>
          </ac:grpSpMkLst>
        </pc:grpChg>
        <pc:grpChg chg="del mod">
          <ac:chgData name="Bantei Sangma [Chillibreeze]" userId="e7070ce9-26a8-4d3a-99f4-f2ac4567d4da" providerId="ADAL" clId="{CFF9C8AC-91C6-4F66-919E-79B541F6FF2E}" dt="2020-07-10T05:59:04.742" v="29" actId="478"/>
          <ac:grpSpMkLst>
            <pc:docMk/>
            <pc:sldMk cId="1548455647" sldId="1494"/>
            <ac:grpSpMk id="16" creationId="{380387E6-1C7D-4098-B9BB-916D64554D4E}"/>
          </ac:grpSpMkLst>
        </pc:grpChg>
        <pc:grpChg chg="add del mod">
          <ac:chgData name="Bantei Sangma [Chillibreeze]" userId="e7070ce9-26a8-4d3a-99f4-f2ac4567d4da" providerId="ADAL" clId="{CFF9C8AC-91C6-4F66-919E-79B541F6FF2E}" dt="2020-07-10T06:01:08.178" v="62" actId="478"/>
          <ac:grpSpMkLst>
            <pc:docMk/>
            <pc:sldMk cId="1548455647" sldId="1494"/>
            <ac:grpSpMk id="22" creationId="{FBA94C5D-DE72-43B7-81F7-19379BDD6679}"/>
          </ac:grpSpMkLst>
        </pc:grpChg>
        <pc:grpChg chg="add del mod">
          <ac:chgData name="Bantei Sangma [Chillibreeze]" userId="e7070ce9-26a8-4d3a-99f4-f2ac4567d4da" providerId="ADAL" clId="{CFF9C8AC-91C6-4F66-919E-79B541F6FF2E}" dt="2020-07-10T06:01:24.391" v="70" actId="165"/>
          <ac:grpSpMkLst>
            <pc:docMk/>
            <pc:sldMk cId="1548455647" sldId="1494"/>
            <ac:grpSpMk id="24" creationId="{414A63E8-20FE-4CDA-9062-7779C3289E4A}"/>
          </ac:grpSpMkLst>
        </pc:grpChg>
        <pc:grpChg chg="add del mod">
          <ac:chgData name="Bantei Sangma [Chillibreeze]" userId="e7070ce9-26a8-4d3a-99f4-f2ac4567d4da" providerId="ADAL" clId="{CFF9C8AC-91C6-4F66-919E-79B541F6FF2E}" dt="2020-07-10T10:06:02.987" v="3426" actId="165"/>
          <ac:grpSpMkLst>
            <pc:docMk/>
            <pc:sldMk cId="1548455647" sldId="1494"/>
            <ac:grpSpMk id="26" creationId="{DF18BE8A-98EC-45FF-BC9B-5A419CE2E4C3}"/>
          </ac:grpSpMkLst>
        </pc:grpChg>
        <pc:picChg chg="mod topLvl">
          <ac:chgData name="Bantei Sangma [Chillibreeze]" userId="e7070ce9-26a8-4d3a-99f4-f2ac4567d4da" providerId="ADAL" clId="{CFF9C8AC-91C6-4F66-919E-79B541F6FF2E}" dt="2020-07-10T10:41:05.821" v="3534" actId="1035"/>
          <ac:picMkLst>
            <pc:docMk/>
            <pc:sldMk cId="1548455647" sldId="1494"/>
            <ac:picMk id="7" creationId="{33FF540A-9F95-4473-AC56-89091A36F1B6}"/>
          </ac:picMkLst>
        </pc:picChg>
        <pc:picChg chg="del mod">
          <ac:chgData name="Bantei Sangma [Chillibreeze]" userId="e7070ce9-26a8-4d3a-99f4-f2ac4567d4da" providerId="ADAL" clId="{CFF9C8AC-91C6-4F66-919E-79B541F6FF2E}" dt="2020-07-10T05:59:04.742" v="29" actId="478"/>
          <ac:picMkLst>
            <pc:docMk/>
            <pc:sldMk cId="1548455647" sldId="1494"/>
            <ac:picMk id="13" creationId="{25A1B9B8-2AE2-4460-AFD4-A5D85F215EBF}"/>
          </ac:picMkLst>
        </pc:picChg>
        <pc:picChg chg="del mod">
          <ac:chgData name="Bantei Sangma [Chillibreeze]" userId="e7070ce9-26a8-4d3a-99f4-f2ac4567d4da" providerId="ADAL" clId="{CFF9C8AC-91C6-4F66-919E-79B541F6FF2E}" dt="2020-07-10T05:59:04.742" v="29" actId="478"/>
          <ac:picMkLst>
            <pc:docMk/>
            <pc:sldMk cId="1548455647" sldId="1494"/>
            <ac:picMk id="19" creationId="{4E3765A9-09CC-4153-ABC0-6CEC516C0EA7}"/>
          </ac:picMkLst>
        </pc:picChg>
        <pc:picChg chg="mod ord topLvl">
          <ac:chgData name="Bantei Sangma [Chillibreeze]" userId="e7070ce9-26a8-4d3a-99f4-f2ac4567d4da" providerId="ADAL" clId="{CFF9C8AC-91C6-4F66-919E-79B541F6FF2E}" dt="2020-07-10T10:41:05.821" v="3534" actId="1035"/>
          <ac:picMkLst>
            <pc:docMk/>
            <pc:sldMk cId="1548455647" sldId="1494"/>
            <ac:picMk id="23" creationId="{10C4B06F-5978-4D19-98AE-502DD7F94C4C}"/>
          </ac:picMkLst>
        </pc:picChg>
        <pc:cxnChg chg="del mod">
          <ac:chgData name="Bantei Sangma [Chillibreeze]" userId="e7070ce9-26a8-4d3a-99f4-f2ac4567d4da" providerId="ADAL" clId="{CFF9C8AC-91C6-4F66-919E-79B541F6FF2E}" dt="2020-07-10T06:00:25.234" v="56" actId="478"/>
          <ac:cxnSpMkLst>
            <pc:docMk/>
            <pc:sldMk cId="1548455647" sldId="1494"/>
            <ac:cxnSpMk id="9" creationId="{A362643C-BD03-4324-9E53-A4DAA3D46230}"/>
          </ac:cxnSpMkLst>
        </pc:cxnChg>
        <pc:cxnChg chg="del mod">
          <ac:chgData name="Bantei Sangma [Chillibreeze]" userId="e7070ce9-26a8-4d3a-99f4-f2ac4567d4da" providerId="ADAL" clId="{CFF9C8AC-91C6-4F66-919E-79B541F6FF2E}" dt="2020-07-10T05:59:04.742" v="29" actId="478"/>
          <ac:cxnSpMkLst>
            <pc:docMk/>
            <pc:sldMk cId="1548455647" sldId="1494"/>
            <ac:cxnSpMk id="15" creationId="{19D03C4D-DB40-4D86-9EB6-B53756345DCD}"/>
          </ac:cxnSpMkLst>
        </pc:cxnChg>
      </pc:sldChg>
      <pc:sldChg chg="addSp delSp modSp mod">
        <pc:chgData name="Bantei Sangma [Chillibreeze]" userId="e7070ce9-26a8-4d3a-99f4-f2ac4567d4da" providerId="ADAL" clId="{CFF9C8AC-91C6-4F66-919E-79B541F6FF2E}" dt="2020-07-10T11:33:58.393" v="4494" actId="692"/>
        <pc:sldMkLst>
          <pc:docMk/>
          <pc:sldMk cId="1605244184" sldId="1495"/>
        </pc:sldMkLst>
        <pc:spChg chg="mod">
          <ac:chgData name="Bantei Sangma [Chillibreeze]" userId="e7070ce9-26a8-4d3a-99f4-f2ac4567d4da" providerId="ADAL" clId="{CFF9C8AC-91C6-4F66-919E-79B541F6FF2E}" dt="2020-07-10T06:08:53.085" v="215" actId="552"/>
          <ac:spMkLst>
            <pc:docMk/>
            <pc:sldMk cId="1605244184" sldId="1495"/>
            <ac:spMk id="2" creationId="{DDD44CD0-04CA-47E4-83FB-ADD4927E3DA6}"/>
          </ac:spMkLst>
        </pc:spChg>
        <pc:spChg chg="add del mod">
          <ac:chgData name="Bantei Sangma [Chillibreeze]" userId="e7070ce9-26a8-4d3a-99f4-f2ac4567d4da" providerId="ADAL" clId="{CFF9C8AC-91C6-4F66-919E-79B541F6FF2E}" dt="2020-07-10T06:09:58.569" v="235" actId="478"/>
          <ac:spMkLst>
            <pc:docMk/>
            <pc:sldMk cId="1605244184" sldId="1495"/>
            <ac:spMk id="3" creationId="{CB618598-0C9E-4AA3-ACFC-C9581B4B1249}"/>
          </ac:spMkLst>
        </pc:spChg>
        <pc:spChg chg="del mod">
          <ac:chgData name="Bantei Sangma [Chillibreeze]" userId="e7070ce9-26a8-4d3a-99f4-f2ac4567d4da" providerId="ADAL" clId="{CFF9C8AC-91C6-4F66-919E-79B541F6FF2E}" dt="2020-07-10T06:04:36.451" v="107" actId="478"/>
          <ac:spMkLst>
            <pc:docMk/>
            <pc:sldMk cId="1605244184" sldId="1495"/>
            <ac:spMk id="8" creationId="{1BA5CDBA-BF25-4E21-96EA-572D600E3C25}"/>
          </ac:spMkLst>
        </pc:spChg>
        <pc:spChg chg="add mod topLvl">
          <ac:chgData name="Bantei Sangma [Chillibreeze]" userId="e7070ce9-26a8-4d3a-99f4-f2ac4567d4da" providerId="ADAL" clId="{CFF9C8AC-91C6-4F66-919E-79B541F6FF2E}" dt="2020-07-10T10:05:27.569" v="3404" actId="1036"/>
          <ac:spMkLst>
            <pc:docMk/>
            <pc:sldMk cId="1605244184" sldId="1495"/>
            <ac:spMk id="12" creationId="{24DE27D4-4027-4305-B9E5-FB7FB509E1C6}"/>
          </ac:spMkLst>
        </pc:spChg>
        <pc:spChg chg="add del mod">
          <ac:chgData name="Bantei Sangma [Chillibreeze]" userId="e7070ce9-26a8-4d3a-99f4-f2ac4567d4da" providerId="ADAL" clId="{CFF9C8AC-91C6-4F66-919E-79B541F6FF2E}" dt="2020-07-10T06:09:17.148" v="219"/>
          <ac:spMkLst>
            <pc:docMk/>
            <pc:sldMk cId="1605244184" sldId="1495"/>
            <ac:spMk id="13" creationId="{379BEC78-A4EB-4082-B044-2AC950021D47}"/>
          </ac:spMkLst>
        </pc:spChg>
        <pc:spChg chg="add mod topLvl">
          <ac:chgData name="Bantei Sangma [Chillibreeze]" userId="e7070ce9-26a8-4d3a-99f4-f2ac4567d4da" providerId="ADAL" clId="{CFF9C8AC-91C6-4F66-919E-79B541F6FF2E}" dt="2020-07-10T10:05:27.569" v="3404" actId="1036"/>
          <ac:spMkLst>
            <pc:docMk/>
            <pc:sldMk cId="1605244184" sldId="1495"/>
            <ac:spMk id="14" creationId="{0B16A038-B0B2-4CB7-BE3F-88B320E6C2BD}"/>
          </ac:spMkLst>
        </pc:spChg>
        <pc:grpChg chg="mod">
          <ac:chgData name="Bantei Sangma [Chillibreeze]" userId="e7070ce9-26a8-4d3a-99f4-f2ac4567d4da" providerId="ADAL" clId="{CFF9C8AC-91C6-4F66-919E-79B541F6FF2E}" dt="2020-07-10T06:04:29.689" v="105" actId="338"/>
          <ac:grpSpMkLst>
            <pc:docMk/>
            <pc:sldMk cId="1605244184" sldId="1495"/>
            <ac:grpSpMk id="1" creationId="{00000000-0000-0000-0000-000000000000}"/>
          </ac:grpSpMkLst>
        </pc:grpChg>
        <pc:grpChg chg="del mod">
          <ac:chgData name="Bantei Sangma [Chillibreeze]" userId="e7070ce9-26a8-4d3a-99f4-f2ac4567d4da" providerId="ADAL" clId="{CFF9C8AC-91C6-4F66-919E-79B541F6FF2E}" dt="2020-07-10T06:04:34.883" v="106" actId="478"/>
          <ac:grpSpMkLst>
            <pc:docMk/>
            <pc:sldMk cId="1605244184" sldId="1495"/>
            <ac:grpSpMk id="7" creationId="{61B7B1AE-499C-4D83-BAD6-073324862509}"/>
          </ac:grpSpMkLst>
        </pc:grpChg>
        <pc:grpChg chg="add del mod">
          <ac:chgData name="Bantei Sangma [Chillibreeze]" userId="e7070ce9-26a8-4d3a-99f4-f2ac4567d4da" providerId="ADAL" clId="{CFF9C8AC-91C6-4F66-919E-79B541F6FF2E}" dt="2020-07-10T06:21:41.301" v="376" actId="165"/>
          <ac:grpSpMkLst>
            <pc:docMk/>
            <pc:sldMk cId="1605244184" sldId="1495"/>
            <ac:grpSpMk id="9" creationId="{0CD91A13-6D98-4DEB-8589-21C496360D10}"/>
          </ac:grpSpMkLst>
        </pc:grpChg>
        <pc:grpChg chg="add del mod">
          <ac:chgData name="Bantei Sangma [Chillibreeze]" userId="e7070ce9-26a8-4d3a-99f4-f2ac4567d4da" providerId="ADAL" clId="{CFF9C8AC-91C6-4F66-919E-79B541F6FF2E}" dt="2020-07-10T06:21:41.301" v="376" actId="165"/>
          <ac:grpSpMkLst>
            <pc:docMk/>
            <pc:sldMk cId="1605244184" sldId="1495"/>
            <ac:grpSpMk id="16" creationId="{0446CD59-E611-465B-B762-8BD04FCA30C0}"/>
          </ac:grpSpMkLst>
        </pc:grpChg>
        <pc:graphicFrameChg chg="add del mod modGraphic">
          <ac:chgData name="Bantei Sangma [Chillibreeze]" userId="e7070ce9-26a8-4d3a-99f4-f2ac4567d4da" providerId="ADAL" clId="{CFF9C8AC-91C6-4F66-919E-79B541F6FF2E}" dt="2020-07-10T11:29:12.533" v="4477" actId="207"/>
          <ac:graphicFrameMkLst>
            <pc:docMk/>
            <pc:sldMk cId="1605244184" sldId="1495"/>
            <ac:graphicFrameMk id="5" creationId="{6522225A-E34C-4DAE-8DEB-8A8D135B0F34}"/>
          </ac:graphicFrameMkLst>
        </pc:graphicFrameChg>
        <pc:picChg chg="add del mod">
          <ac:chgData name="Bantei Sangma [Chillibreeze]" userId="e7070ce9-26a8-4d3a-99f4-f2ac4567d4da" providerId="ADAL" clId="{CFF9C8AC-91C6-4F66-919E-79B541F6FF2E}" dt="2020-07-10T06:08:24.815" v="207" actId="478"/>
          <ac:picMkLst>
            <pc:docMk/>
            <pc:sldMk cId="1605244184" sldId="1495"/>
            <ac:picMk id="4" creationId="{F3756355-96F6-4314-89FF-A37792A2022B}"/>
          </ac:picMkLst>
        </pc:picChg>
        <pc:picChg chg="del mod">
          <ac:chgData name="Bantei Sangma [Chillibreeze]" userId="e7070ce9-26a8-4d3a-99f4-f2ac4567d4da" providerId="ADAL" clId="{CFF9C8AC-91C6-4F66-919E-79B541F6FF2E}" dt="2020-07-10T06:04:29.689" v="105" actId="338"/>
          <ac:picMkLst>
            <pc:docMk/>
            <pc:sldMk cId="1605244184" sldId="1495"/>
            <ac:picMk id="6" creationId="{5446D829-4E47-4AF9-8DA1-C467AC519088}"/>
          </ac:picMkLst>
        </pc:picChg>
        <pc:picChg chg="add mod topLvl">
          <ac:chgData name="Bantei Sangma [Chillibreeze]" userId="e7070ce9-26a8-4d3a-99f4-f2ac4567d4da" providerId="ADAL" clId="{CFF9C8AC-91C6-4F66-919E-79B541F6FF2E}" dt="2020-07-10T10:05:27.569" v="3404" actId="1036"/>
          <ac:picMkLst>
            <pc:docMk/>
            <pc:sldMk cId="1605244184" sldId="1495"/>
            <ac:picMk id="10" creationId="{871CE688-5625-40C0-BC56-B4B34A654D43}"/>
          </ac:picMkLst>
        </pc:picChg>
        <pc:picChg chg="add mod topLvl">
          <ac:chgData name="Bantei Sangma [Chillibreeze]" userId="e7070ce9-26a8-4d3a-99f4-f2ac4567d4da" providerId="ADAL" clId="{CFF9C8AC-91C6-4F66-919E-79B541F6FF2E}" dt="2020-07-10T10:05:27.569" v="3404" actId="1036"/>
          <ac:picMkLst>
            <pc:docMk/>
            <pc:sldMk cId="1605244184" sldId="1495"/>
            <ac:picMk id="11" creationId="{4EEE499F-F97D-43E5-B9C6-740EDF3FADE9}"/>
          </ac:picMkLst>
        </pc:picChg>
        <pc:picChg chg="add mod">
          <ac:chgData name="Bantei Sangma [Chillibreeze]" userId="e7070ce9-26a8-4d3a-99f4-f2ac4567d4da" providerId="ADAL" clId="{CFF9C8AC-91C6-4F66-919E-79B541F6FF2E}" dt="2020-07-10T10:05:27.569" v="3404" actId="1036"/>
          <ac:picMkLst>
            <pc:docMk/>
            <pc:sldMk cId="1605244184" sldId="1495"/>
            <ac:picMk id="19" creationId="{2E753B51-9A30-4575-92D0-B2CDF04C1FC3}"/>
          </ac:picMkLst>
        </pc:picChg>
        <pc:picChg chg="add mod">
          <ac:chgData name="Bantei Sangma [Chillibreeze]" userId="e7070ce9-26a8-4d3a-99f4-f2ac4567d4da" providerId="ADAL" clId="{CFF9C8AC-91C6-4F66-919E-79B541F6FF2E}" dt="2020-07-10T10:05:27.569" v="3404" actId="1036"/>
          <ac:picMkLst>
            <pc:docMk/>
            <pc:sldMk cId="1605244184" sldId="1495"/>
            <ac:picMk id="20" creationId="{487E0072-0894-48AB-8400-76DE78DAED4F}"/>
          </ac:picMkLst>
        </pc:picChg>
        <pc:picChg chg="del mod">
          <ac:chgData name="Bantei Sangma [Chillibreeze]" userId="e7070ce9-26a8-4d3a-99f4-f2ac4567d4da" providerId="ADAL" clId="{CFF9C8AC-91C6-4F66-919E-79B541F6FF2E}" dt="2020-07-10T06:04:34.883" v="106" actId="478"/>
          <ac:picMkLst>
            <pc:docMk/>
            <pc:sldMk cId="1605244184" sldId="1495"/>
            <ac:picMk id="1029" creationId="{8FADCD85-3275-4338-B8F8-F13281AD5627}"/>
          </ac:picMkLst>
        </pc:picChg>
        <pc:cxnChg chg="add mod">
          <ac:chgData name="Bantei Sangma [Chillibreeze]" userId="e7070ce9-26a8-4d3a-99f4-f2ac4567d4da" providerId="ADAL" clId="{CFF9C8AC-91C6-4F66-919E-79B541F6FF2E}" dt="2020-07-10T11:33:58.393" v="4494" actId="692"/>
          <ac:cxnSpMkLst>
            <pc:docMk/>
            <pc:sldMk cId="1605244184" sldId="1495"/>
            <ac:cxnSpMk id="15" creationId="{6043271A-A504-48F2-9423-564308331494}"/>
          </ac:cxnSpMkLst>
        </pc:cxnChg>
      </pc:sldChg>
      <pc:sldChg chg="addSp delSp modSp mod">
        <pc:chgData name="Bantei Sangma [Chillibreeze]" userId="e7070ce9-26a8-4d3a-99f4-f2ac4567d4da" providerId="ADAL" clId="{CFF9C8AC-91C6-4F66-919E-79B541F6FF2E}" dt="2020-07-10T11:25:30.313" v="4475" actId="21"/>
        <pc:sldMkLst>
          <pc:docMk/>
          <pc:sldMk cId="2501132300" sldId="1496"/>
        </pc:sldMkLst>
        <pc:spChg chg="mod">
          <ac:chgData name="Bantei Sangma [Chillibreeze]" userId="e7070ce9-26a8-4d3a-99f4-f2ac4567d4da" providerId="ADAL" clId="{CFF9C8AC-91C6-4F66-919E-79B541F6FF2E}" dt="2020-07-10T07:42:24.477" v="1897" actId="552"/>
          <ac:spMkLst>
            <pc:docMk/>
            <pc:sldMk cId="2501132300" sldId="1496"/>
            <ac:spMk id="2" creationId="{8FF9437B-AC3D-4BB0-A38A-C1D6EC02E398}"/>
          </ac:spMkLst>
        </pc:spChg>
        <pc:spChg chg="add del mod">
          <ac:chgData name="Bantei Sangma [Chillibreeze]" userId="e7070ce9-26a8-4d3a-99f4-f2ac4567d4da" providerId="ADAL" clId="{CFF9C8AC-91C6-4F66-919E-79B541F6FF2E}" dt="2020-07-10T08:38:28.493" v="1925" actId="478"/>
          <ac:spMkLst>
            <pc:docMk/>
            <pc:sldMk cId="2501132300" sldId="1496"/>
            <ac:spMk id="4" creationId="{9B706F97-042A-43F7-9AAC-7BF47A289571}"/>
          </ac:spMkLst>
        </pc:spChg>
        <pc:spChg chg="add del mod">
          <ac:chgData name="Bantei Sangma [Chillibreeze]" userId="e7070ce9-26a8-4d3a-99f4-f2ac4567d4da" providerId="ADAL" clId="{CFF9C8AC-91C6-4F66-919E-79B541F6FF2E}" dt="2020-07-10T07:42:21.095" v="1895" actId="478"/>
          <ac:spMkLst>
            <pc:docMk/>
            <pc:sldMk cId="2501132300" sldId="1496"/>
            <ac:spMk id="5" creationId="{85AF259E-FFEA-44EF-8DB8-AA9E6B27924F}"/>
          </ac:spMkLst>
        </pc:spChg>
        <pc:spChg chg="add mod">
          <ac:chgData name="Bantei Sangma [Chillibreeze]" userId="e7070ce9-26a8-4d3a-99f4-f2ac4567d4da" providerId="ADAL" clId="{CFF9C8AC-91C6-4F66-919E-79B541F6FF2E}" dt="2020-07-10T11:04:00.757" v="3698" actId="14100"/>
          <ac:spMkLst>
            <pc:docMk/>
            <pc:sldMk cId="2501132300" sldId="1496"/>
            <ac:spMk id="6" creationId="{19C946F4-9399-4B07-B411-D5C22C2981F5}"/>
          </ac:spMkLst>
        </pc:spChg>
        <pc:spChg chg="add mod">
          <ac:chgData name="Bantei Sangma [Chillibreeze]" userId="e7070ce9-26a8-4d3a-99f4-f2ac4567d4da" providerId="ADAL" clId="{CFF9C8AC-91C6-4F66-919E-79B541F6FF2E}" dt="2020-07-10T11:04:00.757" v="3698" actId="14100"/>
          <ac:spMkLst>
            <pc:docMk/>
            <pc:sldMk cId="2501132300" sldId="1496"/>
            <ac:spMk id="7" creationId="{36FF0CDF-FFF7-45E0-B491-4E91C75C3A31}"/>
          </ac:spMkLst>
        </pc:spChg>
        <pc:spChg chg="add mod">
          <ac:chgData name="Bantei Sangma [Chillibreeze]" userId="e7070ce9-26a8-4d3a-99f4-f2ac4567d4da" providerId="ADAL" clId="{CFF9C8AC-91C6-4F66-919E-79B541F6FF2E}" dt="2020-07-10T08:38:23.995" v="1924" actId="20577"/>
          <ac:spMkLst>
            <pc:docMk/>
            <pc:sldMk cId="2501132300" sldId="1496"/>
            <ac:spMk id="8" creationId="{61A43D73-0004-4DE2-93F8-EA196C65A618}"/>
          </ac:spMkLst>
        </pc:spChg>
        <pc:spChg chg="add del mod">
          <ac:chgData name="Bantei Sangma [Chillibreeze]" userId="e7070ce9-26a8-4d3a-99f4-f2ac4567d4da" providerId="ADAL" clId="{CFF9C8AC-91C6-4F66-919E-79B541F6FF2E}" dt="2020-07-10T11:21:41.262" v="4437" actId="21"/>
          <ac:spMkLst>
            <pc:docMk/>
            <pc:sldMk cId="2501132300" sldId="1496"/>
            <ac:spMk id="9" creationId="{2AB37D7C-5656-48B8-869A-B7B5A36A656D}"/>
          </ac:spMkLst>
        </pc:spChg>
        <pc:spChg chg="add del mod">
          <ac:chgData name="Bantei Sangma [Chillibreeze]" userId="e7070ce9-26a8-4d3a-99f4-f2ac4567d4da" providerId="ADAL" clId="{CFF9C8AC-91C6-4F66-919E-79B541F6FF2E}" dt="2020-07-10T11:21:39.682" v="4436" actId="478"/>
          <ac:spMkLst>
            <pc:docMk/>
            <pc:sldMk cId="2501132300" sldId="1496"/>
            <ac:spMk id="10" creationId="{E1CB38F7-580B-4E47-B1D5-E9315661BED0}"/>
          </ac:spMkLst>
        </pc:spChg>
        <pc:spChg chg="add del mod">
          <ac:chgData name="Bantei Sangma [Chillibreeze]" userId="e7070ce9-26a8-4d3a-99f4-f2ac4567d4da" providerId="ADAL" clId="{CFF9C8AC-91C6-4F66-919E-79B541F6FF2E}" dt="2020-07-10T11:25:30.313" v="4475" actId="21"/>
          <ac:spMkLst>
            <pc:docMk/>
            <pc:sldMk cId="2501132300" sldId="1496"/>
            <ac:spMk id="11" creationId="{74F67CB1-F1C5-4087-A9F3-12FCB3AB90FB}"/>
          </ac:spMkLst>
        </pc:spChg>
        <pc:picChg chg="add mod">
          <ac:chgData name="Bantei Sangma [Chillibreeze]" userId="e7070ce9-26a8-4d3a-99f4-f2ac4567d4da" providerId="ADAL" clId="{CFF9C8AC-91C6-4F66-919E-79B541F6FF2E}" dt="2020-07-10T10:47:03.990" v="3546" actId="1038"/>
          <ac:picMkLst>
            <pc:docMk/>
            <pc:sldMk cId="2501132300" sldId="1496"/>
            <ac:picMk id="3" creationId="{23FC5AE4-2558-4B47-8229-2BF461CF26E9}"/>
          </ac:picMkLst>
        </pc:picChg>
      </pc:sldChg>
      <pc:sldChg chg="addSp delSp modSp mod modClrScheme chgLayout">
        <pc:chgData name="Bantei Sangma [Chillibreeze]" userId="e7070ce9-26a8-4d3a-99f4-f2ac4567d4da" providerId="ADAL" clId="{CFF9C8AC-91C6-4F66-919E-79B541F6FF2E}" dt="2020-07-10T10:36:09.099" v="3517"/>
        <pc:sldMkLst>
          <pc:docMk/>
          <pc:sldMk cId="3678033795" sldId="1501"/>
        </pc:sldMkLst>
        <pc:spChg chg="mod ord">
          <ac:chgData name="Bantei Sangma [Chillibreeze]" userId="e7070ce9-26a8-4d3a-99f4-f2ac4567d4da" providerId="ADAL" clId="{CFF9C8AC-91C6-4F66-919E-79B541F6FF2E}" dt="2020-07-10T09:45:53.335" v="2937"/>
          <ac:spMkLst>
            <pc:docMk/>
            <pc:sldMk cId="3678033795" sldId="1501"/>
            <ac:spMk id="2" creationId="{544A83E9-9D3F-4D27-92C5-3271240ED3D2}"/>
          </ac:spMkLst>
        </pc:spChg>
        <pc:spChg chg="add del mod">
          <ac:chgData name="Bantei Sangma [Chillibreeze]" userId="e7070ce9-26a8-4d3a-99f4-f2ac4567d4da" providerId="ADAL" clId="{CFF9C8AC-91C6-4F66-919E-79B541F6FF2E}" dt="2020-07-10T06:16:19.721" v="329" actId="478"/>
          <ac:spMkLst>
            <pc:docMk/>
            <pc:sldMk cId="3678033795" sldId="1501"/>
            <ac:spMk id="3" creationId="{216C9E93-D4FA-4973-A5CD-70B80D0C56C3}"/>
          </ac:spMkLst>
        </pc:spChg>
        <pc:spChg chg="add del mod">
          <ac:chgData name="Bantei Sangma [Chillibreeze]" userId="e7070ce9-26a8-4d3a-99f4-f2ac4567d4da" providerId="ADAL" clId="{CFF9C8AC-91C6-4F66-919E-79B541F6FF2E}" dt="2020-07-10T09:45:52.610" v="2934" actId="478"/>
          <ac:spMkLst>
            <pc:docMk/>
            <pc:sldMk cId="3678033795" sldId="1501"/>
            <ac:spMk id="5" creationId="{3B05D7BF-F693-4A6E-8891-5EFE8FECDA06}"/>
          </ac:spMkLst>
        </pc:spChg>
        <pc:spChg chg="add del mod ord">
          <ac:chgData name="Bantei Sangma [Chillibreeze]" userId="e7070ce9-26a8-4d3a-99f4-f2ac4567d4da" providerId="ADAL" clId="{CFF9C8AC-91C6-4F66-919E-79B541F6FF2E}" dt="2020-07-10T09:45:52.853" v="2935"/>
          <ac:spMkLst>
            <pc:docMk/>
            <pc:sldMk cId="3678033795" sldId="1501"/>
            <ac:spMk id="6" creationId="{AE034B36-BAA3-479C-B17B-240A38E4DE5E}"/>
          </ac:spMkLst>
        </pc:spChg>
        <pc:spChg chg="add del mod">
          <ac:chgData name="Bantei Sangma [Chillibreeze]" userId="e7070ce9-26a8-4d3a-99f4-f2ac4567d4da" providerId="ADAL" clId="{CFF9C8AC-91C6-4F66-919E-79B541F6FF2E}" dt="2020-07-10T09:45:52.853" v="2935"/>
          <ac:spMkLst>
            <pc:docMk/>
            <pc:sldMk cId="3678033795" sldId="1501"/>
            <ac:spMk id="7" creationId="{14F23B06-1BA5-4D72-AED6-866FDB4C6B41}"/>
          </ac:spMkLst>
        </pc:spChg>
        <pc:spChg chg="add del mod">
          <ac:chgData name="Bantei Sangma [Chillibreeze]" userId="e7070ce9-26a8-4d3a-99f4-f2ac4567d4da" providerId="ADAL" clId="{CFF9C8AC-91C6-4F66-919E-79B541F6FF2E}" dt="2020-07-10T09:45:53.101" v="2936" actId="478"/>
          <ac:spMkLst>
            <pc:docMk/>
            <pc:sldMk cId="3678033795" sldId="1501"/>
            <ac:spMk id="8" creationId="{E33DE03E-4D4F-45E2-AC75-4C90A33C53FC}"/>
          </ac:spMkLst>
        </pc:spChg>
        <pc:spChg chg="add del mod">
          <ac:chgData name="Bantei Sangma [Chillibreeze]" userId="e7070ce9-26a8-4d3a-99f4-f2ac4567d4da" providerId="ADAL" clId="{CFF9C8AC-91C6-4F66-919E-79B541F6FF2E}" dt="2020-07-10T09:45:53.335" v="2937"/>
          <ac:spMkLst>
            <pc:docMk/>
            <pc:sldMk cId="3678033795" sldId="1501"/>
            <ac:spMk id="9" creationId="{01A735CD-3DF2-4DAA-AABD-43F5775473A0}"/>
          </ac:spMkLst>
        </pc:spChg>
        <pc:spChg chg="add del mod">
          <ac:chgData name="Bantei Sangma [Chillibreeze]" userId="e7070ce9-26a8-4d3a-99f4-f2ac4567d4da" providerId="ADAL" clId="{CFF9C8AC-91C6-4F66-919E-79B541F6FF2E}" dt="2020-07-10T10:35:53.228" v="3512" actId="478"/>
          <ac:spMkLst>
            <pc:docMk/>
            <pc:sldMk cId="3678033795" sldId="1501"/>
            <ac:spMk id="10" creationId="{70E528F1-EE34-4A1F-9F4E-37C4494B623C}"/>
          </ac:spMkLst>
        </pc:spChg>
        <pc:spChg chg="add del mod">
          <ac:chgData name="Bantei Sangma [Chillibreeze]" userId="e7070ce9-26a8-4d3a-99f4-f2ac4567d4da" providerId="ADAL" clId="{CFF9C8AC-91C6-4F66-919E-79B541F6FF2E}" dt="2020-07-10T09:46:47.881" v="2945" actId="478"/>
          <ac:spMkLst>
            <pc:docMk/>
            <pc:sldMk cId="3678033795" sldId="1501"/>
            <ac:spMk id="12" creationId="{0FCFCBE4-5290-4F31-9984-1314A5D72718}"/>
          </ac:spMkLst>
        </pc:spChg>
        <pc:spChg chg="add del mod">
          <ac:chgData name="Bantei Sangma [Chillibreeze]" userId="e7070ce9-26a8-4d3a-99f4-f2ac4567d4da" providerId="ADAL" clId="{CFF9C8AC-91C6-4F66-919E-79B541F6FF2E}" dt="2020-07-10T10:36:08.095" v="3516" actId="478"/>
          <ac:spMkLst>
            <pc:docMk/>
            <pc:sldMk cId="3678033795" sldId="1501"/>
            <ac:spMk id="13" creationId="{66CDEC66-9193-456C-8627-66BCEAE7EAEA}"/>
          </ac:spMkLst>
        </pc:spChg>
        <pc:spChg chg="add mod">
          <ac:chgData name="Bantei Sangma [Chillibreeze]" userId="e7070ce9-26a8-4d3a-99f4-f2ac4567d4da" providerId="ADAL" clId="{CFF9C8AC-91C6-4F66-919E-79B541F6FF2E}" dt="2020-07-10T10:36:09.099" v="3517"/>
          <ac:spMkLst>
            <pc:docMk/>
            <pc:sldMk cId="3678033795" sldId="1501"/>
            <ac:spMk id="14" creationId="{2E4F91C2-6DC9-4813-A636-4574EBEBA912}"/>
          </ac:spMkLst>
        </pc:spChg>
        <pc:picChg chg="add del mod">
          <ac:chgData name="Bantei Sangma [Chillibreeze]" userId="e7070ce9-26a8-4d3a-99f4-f2ac4567d4da" providerId="ADAL" clId="{CFF9C8AC-91C6-4F66-919E-79B541F6FF2E}" dt="2020-07-10T09:45:52.364" v="2933" actId="478"/>
          <ac:picMkLst>
            <pc:docMk/>
            <pc:sldMk cId="3678033795" sldId="1501"/>
            <ac:picMk id="4" creationId="{F8D4CA68-3A39-408D-A9B3-D6D35E557F44}"/>
          </ac:picMkLst>
        </pc:picChg>
      </pc:sldChg>
      <pc:sldChg chg="addSp delSp modSp del mod">
        <pc:chgData name="Bantei Sangma [Chillibreeze]" userId="e7070ce9-26a8-4d3a-99f4-f2ac4567d4da" providerId="ADAL" clId="{CFF9C8AC-91C6-4F66-919E-79B541F6FF2E}" dt="2020-07-10T10:03:58.887" v="3343" actId="47"/>
        <pc:sldMkLst>
          <pc:docMk/>
          <pc:sldMk cId="4071226042" sldId="1507"/>
        </pc:sldMkLst>
        <pc:spChg chg="mod">
          <ac:chgData name="Bantei Sangma [Chillibreeze]" userId="e7070ce9-26a8-4d3a-99f4-f2ac4567d4da" providerId="ADAL" clId="{CFF9C8AC-91C6-4F66-919E-79B541F6FF2E}" dt="2020-07-10T10:00:39.158" v="3036" actId="552"/>
          <ac:spMkLst>
            <pc:docMk/>
            <pc:sldMk cId="4071226042" sldId="1507"/>
            <ac:spMk id="2" creationId="{D491ED86-CEFB-41E7-A879-B7A00DC930D3}"/>
          </ac:spMkLst>
        </pc:spChg>
        <pc:spChg chg="add del mod">
          <ac:chgData name="Bantei Sangma [Chillibreeze]" userId="e7070ce9-26a8-4d3a-99f4-f2ac4567d4da" providerId="ADAL" clId="{CFF9C8AC-91C6-4F66-919E-79B541F6FF2E}" dt="2020-07-10T06:35:48.867" v="650" actId="478"/>
          <ac:spMkLst>
            <pc:docMk/>
            <pc:sldMk cId="4071226042" sldId="1507"/>
            <ac:spMk id="3" creationId="{039BC6C7-4BB4-4772-BFE6-40C5AE19B6C2}"/>
          </ac:spMkLst>
        </pc:spChg>
        <pc:spChg chg="add del mod">
          <ac:chgData name="Bantei Sangma [Chillibreeze]" userId="e7070ce9-26a8-4d3a-99f4-f2ac4567d4da" providerId="ADAL" clId="{CFF9C8AC-91C6-4F66-919E-79B541F6FF2E}" dt="2020-07-10T06:25:45.130" v="417" actId="478"/>
          <ac:spMkLst>
            <pc:docMk/>
            <pc:sldMk cId="4071226042" sldId="1507"/>
            <ac:spMk id="4" creationId="{1AAB9903-5060-4759-8EA1-629A9E3669E6}"/>
          </ac:spMkLst>
        </pc:spChg>
        <pc:spChg chg="add del mod">
          <ac:chgData name="Bantei Sangma [Chillibreeze]" userId="e7070ce9-26a8-4d3a-99f4-f2ac4567d4da" providerId="ADAL" clId="{CFF9C8AC-91C6-4F66-919E-79B541F6FF2E}" dt="2020-07-10T06:25:46.467" v="418" actId="478"/>
          <ac:spMkLst>
            <pc:docMk/>
            <pc:sldMk cId="4071226042" sldId="1507"/>
            <ac:spMk id="5" creationId="{CEA92816-2FA2-4EFB-9AC6-B36A11F0A3D7}"/>
          </ac:spMkLst>
        </pc:spChg>
        <pc:spChg chg="add del mod">
          <ac:chgData name="Bantei Sangma [Chillibreeze]" userId="e7070ce9-26a8-4d3a-99f4-f2ac4567d4da" providerId="ADAL" clId="{CFF9C8AC-91C6-4F66-919E-79B541F6FF2E}" dt="2020-07-10T06:25:44.122" v="416" actId="478"/>
          <ac:spMkLst>
            <pc:docMk/>
            <pc:sldMk cId="4071226042" sldId="1507"/>
            <ac:spMk id="6" creationId="{FB22EEDE-9A90-4B0E-B1D3-4667AF59C1D2}"/>
          </ac:spMkLst>
        </pc:spChg>
        <pc:spChg chg="mod topLvl">
          <ac:chgData name="Bantei Sangma [Chillibreeze]" userId="e7070ce9-26a8-4d3a-99f4-f2ac4567d4da" providerId="ADAL" clId="{CFF9C8AC-91C6-4F66-919E-79B541F6FF2E}" dt="2020-07-10T10:00:39.620" v="3038" actId="1076"/>
          <ac:spMkLst>
            <pc:docMk/>
            <pc:sldMk cId="4071226042" sldId="1507"/>
            <ac:spMk id="9" creationId="{64C79184-DC63-4E91-8FAD-A1086D2B41A9}"/>
          </ac:spMkLst>
        </pc:spChg>
        <pc:spChg chg="mod topLvl">
          <ac:chgData name="Bantei Sangma [Chillibreeze]" userId="e7070ce9-26a8-4d3a-99f4-f2ac4567d4da" providerId="ADAL" clId="{CFF9C8AC-91C6-4F66-919E-79B541F6FF2E}" dt="2020-07-10T10:00:40.151" v="3040" actId="14100"/>
          <ac:spMkLst>
            <pc:docMk/>
            <pc:sldMk cId="4071226042" sldId="1507"/>
            <ac:spMk id="12" creationId="{BCFD303F-6DEC-4747-A494-A1E48CBC3C98}"/>
          </ac:spMkLst>
        </pc:spChg>
        <pc:spChg chg="add mod">
          <ac:chgData name="Bantei Sangma [Chillibreeze]" userId="e7070ce9-26a8-4d3a-99f4-f2ac4567d4da" providerId="ADAL" clId="{CFF9C8AC-91C6-4F66-919E-79B541F6FF2E}" dt="2020-07-10T08:36:40.602" v="1907" actId="404"/>
          <ac:spMkLst>
            <pc:docMk/>
            <pc:sldMk cId="4071226042" sldId="1507"/>
            <ac:spMk id="14" creationId="{6282BF46-2607-4C0D-BA8D-E657E05A410D}"/>
          </ac:spMkLst>
        </pc:spChg>
        <pc:spChg chg="add mod topLvl">
          <ac:chgData name="Bantei Sangma [Chillibreeze]" userId="e7070ce9-26a8-4d3a-99f4-f2ac4567d4da" providerId="ADAL" clId="{CFF9C8AC-91C6-4F66-919E-79B541F6FF2E}" dt="2020-07-10T06:36:05.707" v="654" actId="165"/>
          <ac:spMkLst>
            <pc:docMk/>
            <pc:sldMk cId="4071226042" sldId="1507"/>
            <ac:spMk id="15" creationId="{AAFCA2F6-C299-4497-AA0B-08F2680B37C6}"/>
          </ac:spMkLst>
        </pc:spChg>
        <pc:spChg chg="add mod topLvl">
          <ac:chgData name="Bantei Sangma [Chillibreeze]" userId="e7070ce9-26a8-4d3a-99f4-f2ac4567d4da" providerId="ADAL" clId="{CFF9C8AC-91C6-4F66-919E-79B541F6FF2E}" dt="2020-07-10T08:37:11.918" v="1919" actId="12788"/>
          <ac:spMkLst>
            <pc:docMk/>
            <pc:sldMk cId="4071226042" sldId="1507"/>
            <ac:spMk id="16" creationId="{95020A70-E47D-4D3C-8175-97312447D9BC}"/>
          </ac:spMkLst>
        </pc:spChg>
        <pc:spChg chg="add del mod topLvl">
          <ac:chgData name="Bantei Sangma [Chillibreeze]" userId="e7070ce9-26a8-4d3a-99f4-f2ac4567d4da" providerId="ADAL" clId="{CFF9C8AC-91C6-4F66-919E-79B541F6FF2E}" dt="2020-07-10T08:37:16.990" v="1920" actId="12788"/>
          <ac:spMkLst>
            <pc:docMk/>
            <pc:sldMk cId="4071226042" sldId="1507"/>
            <ac:spMk id="17" creationId="{3D980A0E-1E1D-4F8D-AD91-A0BDEBACE379}"/>
          </ac:spMkLst>
        </pc:spChg>
        <pc:spChg chg="add mod topLvl">
          <ac:chgData name="Bantei Sangma [Chillibreeze]" userId="e7070ce9-26a8-4d3a-99f4-f2ac4567d4da" providerId="ADAL" clId="{CFF9C8AC-91C6-4F66-919E-79B541F6FF2E}" dt="2020-07-10T08:37:19.630" v="1921" actId="12788"/>
          <ac:spMkLst>
            <pc:docMk/>
            <pc:sldMk cId="4071226042" sldId="1507"/>
            <ac:spMk id="18" creationId="{EC92BF75-46EF-4BA0-8DAE-1B3DB183D96C}"/>
          </ac:spMkLst>
        </pc:spChg>
        <pc:spChg chg="add del mod">
          <ac:chgData name="Bantei Sangma [Chillibreeze]" userId="e7070ce9-26a8-4d3a-99f4-f2ac4567d4da" providerId="ADAL" clId="{CFF9C8AC-91C6-4F66-919E-79B541F6FF2E}" dt="2020-07-10T06:32:41.773" v="578"/>
          <ac:spMkLst>
            <pc:docMk/>
            <pc:sldMk cId="4071226042" sldId="1507"/>
            <ac:spMk id="19" creationId="{47C73022-0C5E-43EF-AD4E-44EFE5B39AEB}"/>
          </ac:spMkLst>
        </pc:spChg>
        <pc:spChg chg="add del">
          <ac:chgData name="Bantei Sangma [Chillibreeze]" userId="e7070ce9-26a8-4d3a-99f4-f2ac4567d4da" providerId="ADAL" clId="{CFF9C8AC-91C6-4F66-919E-79B541F6FF2E}" dt="2020-07-10T06:32:41.773" v="578"/>
          <ac:spMkLst>
            <pc:docMk/>
            <pc:sldMk cId="4071226042" sldId="1507"/>
            <ac:spMk id="20" creationId="{AD8BCDFE-248C-4E83-A287-C45B892F8DC6}"/>
          </ac:spMkLst>
        </pc:spChg>
        <pc:spChg chg="mod">
          <ac:chgData name="Bantei Sangma [Chillibreeze]" userId="e7070ce9-26a8-4d3a-99f4-f2ac4567d4da" providerId="ADAL" clId="{CFF9C8AC-91C6-4F66-919E-79B541F6FF2E}" dt="2020-07-10T06:32:30.808" v="577"/>
          <ac:spMkLst>
            <pc:docMk/>
            <pc:sldMk cId="4071226042" sldId="1507"/>
            <ac:spMk id="21" creationId="{8D64790E-20D0-4B7B-927D-EF90494D5606}"/>
          </ac:spMkLst>
        </pc:spChg>
        <pc:spChg chg="del mod">
          <ac:chgData name="Bantei Sangma [Chillibreeze]" userId="e7070ce9-26a8-4d3a-99f4-f2ac4567d4da" providerId="ADAL" clId="{CFF9C8AC-91C6-4F66-919E-79B541F6FF2E}" dt="2020-07-10T06:32:54.239" v="581" actId="478"/>
          <ac:spMkLst>
            <pc:docMk/>
            <pc:sldMk cId="4071226042" sldId="1507"/>
            <ac:spMk id="22" creationId="{2ED14811-8D66-42DB-ABAC-B461FB0C0630}"/>
          </ac:spMkLst>
        </pc:spChg>
        <pc:spChg chg="del mod">
          <ac:chgData name="Bantei Sangma [Chillibreeze]" userId="e7070ce9-26a8-4d3a-99f4-f2ac4567d4da" providerId="ADAL" clId="{CFF9C8AC-91C6-4F66-919E-79B541F6FF2E}" dt="2020-07-10T06:32:44.525" v="579" actId="478"/>
          <ac:spMkLst>
            <pc:docMk/>
            <pc:sldMk cId="4071226042" sldId="1507"/>
            <ac:spMk id="23" creationId="{F5564900-E713-44E9-9585-541A89C31296}"/>
          </ac:spMkLst>
        </pc:spChg>
        <pc:spChg chg="del mod">
          <ac:chgData name="Bantei Sangma [Chillibreeze]" userId="e7070ce9-26a8-4d3a-99f4-f2ac4567d4da" providerId="ADAL" clId="{CFF9C8AC-91C6-4F66-919E-79B541F6FF2E}" dt="2020-07-10T06:32:45.803" v="580" actId="478"/>
          <ac:spMkLst>
            <pc:docMk/>
            <pc:sldMk cId="4071226042" sldId="1507"/>
            <ac:spMk id="24" creationId="{9252D53B-FD9F-489E-8B22-9C90B9775D03}"/>
          </ac:spMkLst>
        </pc:spChg>
        <pc:spChg chg="add mod topLvl">
          <ac:chgData name="Bantei Sangma [Chillibreeze]" userId="e7070ce9-26a8-4d3a-99f4-f2ac4567d4da" providerId="ADAL" clId="{CFF9C8AC-91C6-4F66-919E-79B541F6FF2E}" dt="2020-07-10T08:37:11.918" v="1919" actId="12788"/>
          <ac:spMkLst>
            <pc:docMk/>
            <pc:sldMk cId="4071226042" sldId="1507"/>
            <ac:spMk id="25" creationId="{7AF55B66-167E-4654-AEEA-9EDCD445EC81}"/>
          </ac:spMkLst>
        </pc:spChg>
        <pc:spChg chg="add mod topLvl">
          <ac:chgData name="Bantei Sangma [Chillibreeze]" userId="e7070ce9-26a8-4d3a-99f4-f2ac4567d4da" providerId="ADAL" clId="{CFF9C8AC-91C6-4F66-919E-79B541F6FF2E}" dt="2020-07-10T08:37:16.990" v="1920" actId="12788"/>
          <ac:spMkLst>
            <pc:docMk/>
            <pc:sldMk cId="4071226042" sldId="1507"/>
            <ac:spMk id="26" creationId="{584C81E9-D628-4BF4-862A-35D36CA601F5}"/>
          </ac:spMkLst>
        </pc:spChg>
        <pc:spChg chg="add mod topLvl">
          <ac:chgData name="Bantei Sangma [Chillibreeze]" userId="e7070ce9-26a8-4d3a-99f4-f2ac4567d4da" providerId="ADAL" clId="{CFF9C8AC-91C6-4F66-919E-79B541F6FF2E}" dt="2020-07-10T08:37:19.630" v="1921" actId="12788"/>
          <ac:spMkLst>
            <pc:docMk/>
            <pc:sldMk cId="4071226042" sldId="1507"/>
            <ac:spMk id="27" creationId="{A7F2E35F-77F6-4EC5-AEC0-1DFD4A8183C0}"/>
          </ac:spMkLst>
        </pc:spChg>
        <pc:grpChg chg="add del mod">
          <ac:chgData name="Bantei Sangma [Chillibreeze]" userId="e7070ce9-26a8-4d3a-99f4-f2ac4567d4da" providerId="ADAL" clId="{CFF9C8AC-91C6-4F66-919E-79B541F6FF2E}" dt="2020-07-10T06:21:31.611" v="373" actId="165"/>
          <ac:grpSpMkLst>
            <pc:docMk/>
            <pc:sldMk cId="4071226042" sldId="1507"/>
            <ac:grpSpMk id="7" creationId="{B9C54F4A-E21F-4A5A-9EFB-920A4CE97AE3}"/>
          </ac:grpSpMkLst>
        </pc:grpChg>
        <pc:grpChg chg="add del mod">
          <ac:chgData name="Bantei Sangma [Chillibreeze]" userId="e7070ce9-26a8-4d3a-99f4-f2ac4567d4da" providerId="ADAL" clId="{CFF9C8AC-91C6-4F66-919E-79B541F6FF2E}" dt="2020-07-10T06:21:32.917" v="374" actId="165"/>
          <ac:grpSpMkLst>
            <pc:docMk/>
            <pc:sldMk cId="4071226042" sldId="1507"/>
            <ac:grpSpMk id="10" creationId="{8AE017D9-9694-4F52-B878-09092E75219D}"/>
          </ac:grpSpMkLst>
        </pc:grpChg>
        <pc:grpChg chg="add del mod">
          <ac:chgData name="Bantei Sangma [Chillibreeze]" userId="e7070ce9-26a8-4d3a-99f4-f2ac4567d4da" providerId="ADAL" clId="{CFF9C8AC-91C6-4F66-919E-79B541F6FF2E}" dt="2020-07-10T06:34:55.407" v="640" actId="165"/>
          <ac:grpSpMkLst>
            <pc:docMk/>
            <pc:sldMk cId="4071226042" sldId="1507"/>
            <ac:grpSpMk id="28" creationId="{711AC598-C861-4E6C-9BE0-86E9B50C29B2}"/>
          </ac:grpSpMkLst>
        </pc:grpChg>
        <pc:grpChg chg="add del mod">
          <ac:chgData name="Bantei Sangma [Chillibreeze]" userId="e7070ce9-26a8-4d3a-99f4-f2ac4567d4da" providerId="ADAL" clId="{CFF9C8AC-91C6-4F66-919E-79B541F6FF2E}" dt="2020-07-10T06:36:05.707" v="654" actId="165"/>
          <ac:grpSpMkLst>
            <pc:docMk/>
            <pc:sldMk cId="4071226042" sldId="1507"/>
            <ac:grpSpMk id="29" creationId="{76E3C305-95A0-4E63-88F7-40042A11DB8E}"/>
          </ac:grpSpMkLst>
        </pc:grpChg>
        <pc:picChg chg="add del mod topLvl">
          <ac:chgData name="Bantei Sangma [Chillibreeze]" userId="e7070ce9-26a8-4d3a-99f4-f2ac4567d4da" providerId="ADAL" clId="{CFF9C8AC-91C6-4F66-919E-79B541F6FF2E}" dt="2020-07-10T10:00:55.285" v="3046" actId="478"/>
          <ac:picMkLst>
            <pc:docMk/>
            <pc:sldMk cId="4071226042" sldId="1507"/>
            <ac:picMk id="8" creationId="{20048953-D6C6-4EA5-B9D8-BE3FB8ED68B0}"/>
          </ac:picMkLst>
        </pc:picChg>
        <pc:picChg chg="add del mod topLvl">
          <ac:chgData name="Bantei Sangma [Chillibreeze]" userId="e7070ce9-26a8-4d3a-99f4-f2ac4567d4da" providerId="ADAL" clId="{CFF9C8AC-91C6-4F66-919E-79B541F6FF2E}" dt="2020-07-10T10:00:55.285" v="3046" actId="478"/>
          <ac:picMkLst>
            <pc:docMk/>
            <pc:sldMk cId="4071226042" sldId="1507"/>
            <ac:picMk id="11" creationId="{3C822151-6A73-4FEB-AB47-E2083FD451A9}"/>
          </ac:picMkLst>
        </pc:picChg>
        <pc:cxnChg chg="add del mod">
          <ac:chgData name="Bantei Sangma [Chillibreeze]" userId="e7070ce9-26a8-4d3a-99f4-f2ac4567d4da" providerId="ADAL" clId="{CFF9C8AC-91C6-4F66-919E-79B541F6FF2E}" dt="2020-07-10T10:00:41.164" v="3041" actId="478"/>
          <ac:cxnSpMkLst>
            <pc:docMk/>
            <pc:sldMk cId="4071226042" sldId="1507"/>
            <ac:cxnSpMk id="13" creationId="{07724D6C-A5D6-441A-86DF-1BCF0549EF32}"/>
          </ac:cxnSpMkLst>
        </pc:cxnChg>
      </pc:sldChg>
      <pc:sldChg chg="addSp delSp modSp mod">
        <pc:chgData name="Bantei Sangma [Chillibreeze]" userId="e7070ce9-26a8-4d3a-99f4-f2ac4567d4da" providerId="ADAL" clId="{CFF9C8AC-91C6-4F66-919E-79B541F6FF2E}" dt="2020-07-10T11:30:23.437" v="4481" actId="207"/>
        <pc:sldMkLst>
          <pc:docMk/>
          <pc:sldMk cId="1380867704" sldId="1508"/>
        </pc:sldMkLst>
        <pc:spChg chg="add del mod">
          <ac:chgData name="Bantei Sangma [Chillibreeze]" userId="e7070ce9-26a8-4d3a-99f4-f2ac4567d4da" providerId="ADAL" clId="{CFF9C8AC-91C6-4F66-919E-79B541F6FF2E}" dt="2020-07-10T06:23:47.986" v="389" actId="478"/>
          <ac:spMkLst>
            <pc:docMk/>
            <pc:sldMk cId="1380867704" sldId="1508"/>
            <ac:spMk id="3" creationId="{6DA3D7D1-C470-490C-9420-28E7DB7AB50D}"/>
          </ac:spMkLst>
        </pc:spChg>
        <pc:spChg chg="add del mod">
          <ac:chgData name="Bantei Sangma [Chillibreeze]" userId="e7070ce9-26a8-4d3a-99f4-f2ac4567d4da" providerId="ADAL" clId="{CFF9C8AC-91C6-4F66-919E-79B541F6FF2E}" dt="2020-07-10T11:10:27.632" v="3734" actId="478"/>
          <ac:spMkLst>
            <pc:docMk/>
            <pc:sldMk cId="1380867704" sldId="1508"/>
            <ac:spMk id="5" creationId="{424DF329-7E65-47D6-87B7-9CECC935C0EB}"/>
          </ac:spMkLst>
        </pc:spChg>
        <pc:spChg chg="add mod">
          <ac:chgData name="Bantei Sangma [Chillibreeze]" userId="e7070ce9-26a8-4d3a-99f4-f2ac4567d4da" providerId="ADAL" clId="{CFF9C8AC-91C6-4F66-919E-79B541F6FF2E}" dt="2020-07-10T10:48:40.942" v="3610" actId="1036"/>
          <ac:spMkLst>
            <pc:docMk/>
            <pc:sldMk cId="1380867704" sldId="1508"/>
            <ac:spMk id="7" creationId="{B6C46273-09FE-4D04-9D99-E6962DDF776C}"/>
          </ac:spMkLst>
        </pc:spChg>
        <pc:spChg chg="add mod topLvl">
          <ac:chgData name="Bantei Sangma [Chillibreeze]" userId="e7070ce9-26a8-4d3a-99f4-f2ac4567d4da" providerId="ADAL" clId="{CFF9C8AC-91C6-4F66-919E-79B541F6FF2E}" dt="2020-07-10T11:16:10.593" v="4403" actId="165"/>
          <ac:spMkLst>
            <pc:docMk/>
            <pc:sldMk cId="1380867704" sldId="1508"/>
            <ac:spMk id="9" creationId="{5ED77C74-7937-4BF6-B4AE-CCB5A81DB49D}"/>
          </ac:spMkLst>
        </pc:spChg>
        <pc:spChg chg="add del mod">
          <ac:chgData name="Bantei Sangma [Chillibreeze]" userId="e7070ce9-26a8-4d3a-99f4-f2ac4567d4da" providerId="ADAL" clId="{CFF9C8AC-91C6-4F66-919E-79B541F6FF2E}" dt="2020-07-10T06:36:43.552" v="665" actId="478"/>
          <ac:spMkLst>
            <pc:docMk/>
            <pc:sldMk cId="1380867704" sldId="1508"/>
            <ac:spMk id="10" creationId="{E0BC81DE-6BA3-448A-89D2-692219106CA1}"/>
          </ac:spMkLst>
        </pc:spChg>
        <pc:spChg chg="add mod topLvl">
          <ac:chgData name="Bantei Sangma [Chillibreeze]" userId="e7070ce9-26a8-4d3a-99f4-f2ac4567d4da" providerId="ADAL" clId="{CFF9C8AC-91C6-4F66-919E-79B541F6FF2E}" dt="2020-07-10T11:16:10.593" v="4403" actId="165"/>
          <ac:spMkLst>
            <pc:docMk/>
            <pc:sldMk cId="1380867704" sldId="1508"/>
            <ac:spMk id="11" creationId="{21D94EAE-7EFD-4B09-8A45-3E1CC706A51A}"/>
          </ac:spMkLst>
        </pc:spChg>
        <pc:spChg chg="add mod topLvl">
          <ac:chgData name="Bantei Sangma [Chillibreeze]" userId="e7070ce9-26a8-4d3a-99f4-f2ac4567d4da" providerId="ADAL" clId="{CFF9C8AC-91C6-4F66-919E-79B541F6FF2E}" dt="2020-07-10T11:30:23.437" v="4481" actId="207"/>
          <ac:spMkLst>
            <pc:docMk/>
            <pc:sldMk cId="1380867704" sldId="1508"/>
            <ac:spMk id="12" creationId="{032D826C-4A6B-44AB-8C59-85CF0D32EC2C}"/>
          </ac:spMkLst>
        </pc:spChg>
        <pc:spChg chg="add mod topLvl">
          <ac:chgData name="Bantei Sangma [Chillibreeze]" userId="e7070ce9-26a8-4d3a-99f4-f2ac4567d4da" providerId="ADAL" clId="{CFF9C8AC-91C6-4F66-919E-79B541F6FF2E}" dt="2020-07-10T11:16:10.593" v="4403" actId="165"/>
          <ac:spMkLst>
            <pc:docMk/>
            <pc:sldMk cId="1380867704" sldId="1508"/>
            <ac:spMk id="13" creationId="{143F2B34-0C0F-4A8B-A3ED-BE6D43315DB9}"/>
          </ac:spMkLst>
        </pc:spChg>
        <pc:spChg chg="add mod topLvl">
          <ac:chgData name="Bantei Sangma [Chillibreeze]" userId="e7070ce9-26a8-4d3a-99f4-f2ac4567d4da" providerId="ADAL" clId="{CFF9C8AC-91C6-4F66-919E-79B541F6FF2E}" dt="2020-07-10T11:16:36.027" v="4404" actId="208"/>
          <ac:spMkLst>
            <pc:docMk/>
            <pc:sldMk cId="1380867704" sldId="1508"/>
            <ac:spMk id="14" creationId="{18F8F29E-1DC9-4D6C-B9C3-725B9959927C}"/>
          </ac:spMkLst>
        </pc:spChg>
        <pc:spChg chg="add del mod">
          <ac:chgData name="Bantei Sangma [Chillibreeze]" userId="e7070ce9-26a8-4d3a-99f4-f2ac4567d4da" providerId="ADAL" clId="{CFF9C8AC-91C6-4F66-919E-79B541F6FF2E}" dt="2020-07-10T06:40:06.686" v="793" actId="478"/>
          <ac:spMkLst>
            <pc:docMk/>
            <pc:sldMk cId="1380867704" sldId="1508"/>
            <ac:spMk id="15" creationId="{21350F9B-4410-4434-90AB-154FD7B7E9D9}"/>
          </ac:spMkLst>
        </pc:spChg>
        <pc:spChg chg="add mod topLvl">
          <ac:chgData name="Bantei Sangma [Chillibreeze]" userId="e7070ce9-26a8-4d3a-99f4-f2ac4567d4da" providerId="ADAL" clId="{CFF9C8AC-91C6-4F66-919E-79B541F6FF2E}" dt="2020-07-10T11:16:10.593" v="4403" actId="165"/>
          <ac:spMkLst>
            <pc:docMk/>
            <pc:sldMk cId="1380867704" sldId="1508"/>
            <ac:spMk id="16" creationId="{ACD3FB76-FEF7-49FF-A20E-460BCF7C21F5}"/>
          </ac:spMkLst>
        </pc:spChg>
        <pc:spChg chg="add mod topLvl">
          <ac:chgData name="Bantei Sangma [Chillibreeze]" userId="e7070ce9-26a8-4d3a-99f4-f2ac4567d4da" providerId="ADAL" clId="{CFF9C8AC-91C6-4F66-919E-79B541F6FF2E}" dt="2020-07-10T11:16:10.593" v="4403" actId="165"/>
          <ac:spMkLst>
            <pc:docMk/>
            <pc:sldMk cId="1380867704" sldId="1508"/>
            <ac:spMk id="17" creationId="{22E32292-F5A5-43F0-B193-672FEE355B53}"/>
          </ac:spMkLst>
        </pc:spChg>
        <pc:spChg chg="add mod">
          <ac:chgData name="Bantei Sangma [Chillibreeze]" userId="e7070ce9-26a8-4d3a-99f4-f2ac4567d4da" providerId="ADAL" clId="{CFF9C8AC-91C6-4F66-919E-79B541F6FF2E}" dt="2020-07-10T11:16:07.631" v="4402" actId="12788"/>
          <ac:spMkLst>
            <pc:docMk/>
            <pc:sldMk cId="1380867704" sldId="1508"/>
            <ac:spMk id="18" creationId="{0DDBBAF2-28D1-4692-B29B-B23907B99F56}"/>
          </ac:spMkLst>
        </pc:spChg>
        <pc:spChg chg="add del">
          <ac:chgData name="Bantei Sangma [Chillibreeze]" userId="e7070ce9-26a8-4d3a-99f4-f2ac4567d4da" providerId="ADAL" clId="{CFF9C8AC-91C6-4F66-919E-79B541F6FF2E}" dt="2020-07-10T11:09:29.564" v="3721" actId="22"/>
          <ac:spMkLst>
            <pc:docMk/>
            <pc:sldMk cId="1380867704" sldId="1508"/>
            <ac:spMk id="22" creationId="{5F0627B8-26A7-42F4-8C56-1E285E2A3DE2}"/>
          </ac:spMkLst>
        </pc:spChg>
        <pc:spChg chg="add mod">
          <ac:chgData name="Bantei Sangma [Chillibreeze]" userId="e7070ce9-26a8-4d3a-99f4-f2ac4567d4da" providerId="ADAL" clId="{CFF9C8AC-91C6-4F66-919E-79B541F6FF2E}" dt="2020-07-10T11:10:24.764" v="3733"/>
          <ac:spMkLst>
            <pc:docMk/>
            <pc:sldMk cId="1380867704" sldId="1508"/>
            <ac:spMk id="23" creationId="{60156EE5-B968-44E8-99F8-207B252A849F}"/>
          </ac:spMkLst>
        </pc:spChg>
        <pc:grpChg chg="add del mod">
          <ac:chgData name="Bantei Sangma [Chillibreeze]" userId="e7070ce9-26a8-4d3a-99f4-f2ac4567d4da" providerId="ADAL" clId="{CFF9C8AC-91C6-4F66-919E-79B541F6FF2E}" dt="2020-07-10T10:48:33.740" v="3602" actId="165"/>
          <ac:grpSpMkLst>
            <pc:docMk/>
            <pc:sldMk cId="1380867704" sldId="1508"/>
            <ac:grpSpMk id="19" creationId="{DA5565BF-FF39-4CDB-B13A-6594B9E0D956}"/>
          </ac:grpSpMkLst>
        </pc:grpChg>
        <pc:grpChg chg="add del mod">
          <ac:chgData name="Bantei Sangma [Chillibreeze]" userId="e7070ce9-26a8-4d3a-99f4-f2ac4567d4da" providerId="ADAL" clId="{CFF9C8AC-91C6-4F66-919E-79B541F6FF2E}" dt="2020-07-10T10:54:25.007" v="3619" actId="165"/>
          <ac:grpSpMkLst>
            <pc:docMk/>
            <pc:sldMk cId="1380867704" sldId="1508"/>
            <ac:grpSpMk id="20" creationId="{1ECFE86E-8937-4D25-8ABE-41350A07B0DE}"/>
          </ac:grpSpMkLst>
        </pc:grpChg>
        <pc:grpChg chg="add del mod">
          <ac:chgData name="Bantei Sangma [Chillibreeze]" userId="e7070ce9-26a8-4d3a-99f4-f2ac4567d4da" providerId="ADAL" clId="{CFF9C8AC-91C6-4F66-919E-79B541F6FF2E}" dt="2020-07-10T11:16:10.593" v="4403" actId="165"/>
          <ac:grpSpMkLst>
            <pc:docMk/>
            <pc:sldMk cId="1380867704" sldId="1508"/>
            <ac:grpSpMk id="24" creationId="{C73F042C-D11D-485C-97C9-EC40438D4117}"/>
          </ac:grpSpMkLst>
        </pc:grpChg>
        <pc:picChg chg="add del mod">
          <ac:chgData name="Bantei Sangma [Chillibreeze]" userId="e7070ce9-26a8-4d3a-99f4-f2ac4567d4da" providerId="ADAL" clId="{CFF9C8AC-91C6-4F66-919E-79B541F6FF2E}" dt="2020-07-10T06:24:05.922" v="395" actId="478"/>
          <ac:picMkLst>
            <pc:docMk/>
            <pc:sldMk cId="1380867704" sldId="1508"/>
            <ac:picMk id="4" creationId="{25EA51D4-11D9-470B-8D4A-D4519D5AAA04}"/>
          </ac:picMkLst>
        </pc:picChg>
        <pc:picChg chg="add del mod">
          <ac:chgData name="Bantei Sangma [Chillibreeze]" userId="e7070ce9-26a8-4d3a-99f4-f2ac4567d4da" providerId="ADAL" clId="{CFF9C8AC-91C6-4F66-919E-79B541F6FF2E}" dt="2020-07-10T06:41:58.189" v="861" actId="478"/>
          <ac:picMkLst>
            <pc:docMk/>
            <pc:sldMk cId="1380867704" sldId="1508"/>
            <ac:picMk id="8" creationId="{D444C846-0F64-49A4-966E-D6737707E330}"/>
          </ac:picMkLst>
        </pc:picChg>
      </pc:sldChg>
      <pc:sldChg chg="addSp delSp modSp mod">
        <pc:chgData name="Bantei Sangma [Chillibreeze]" userId="e7070ce9-26a8-4d3a-99f4-f2ac4567d4da" providerId="ADAL" clId="{CFF9C8AC-91C6-4F66-919E-79B541F6FF2E}" dt="2020-07-10T11:30:33.805" v="4482" actId="207"/>
        <pc:sldMkLst>
          <pc:docMk/>
          <pc:sldMk cId="392330573" sldId="1509"/>
        </pc:sldMkLst>
        <pc:spChg chg="mod">
          <ac:chgData name="Bantei Sangma [Chillibreeze]" userId="e7070ce9-26a8-4d3a-99f4-f2ac4567d4da" providerId="ADAL" clId="{CFF9C8AC-91C6-4F66-919E-79B541F6FF2E}" dt="2020-07-10T07:03:27.252" v="1035" actId="552"/>
          <ac:spMkLst>
            <pc:docMk/>
            <pc:sldMk cId="392330573" sldId="1509"/>
            <ac:spMk id="2" creationId="{8EB24F5B-38B6-4A50-B0C2-9DBFF3DA0214}"/>
          </ac:spMkLst>
        </pc:spChg>
        <pc:spChg chg="add del mod">
          <ac:chgData name="Bantei Sangma [Chillibreeze]" userId="e7070ce9-26a8-4d3a-99f4-f2ac4567d4da" providerId="ADAL" clId="{CFF9C8AC-91C6-4F66-919E-79B541F6FF2E}" dt="2020-07-10T06:47:42.713" v="952" actId="478"/>
          <ac:spMkLst>
            <pc:docMk/>
            <pc:sldMk cId="392330573" sldId="1509"/>
            <ac:spMk id="3" creationId="{AAC8642D-8028-43C0-98BE-BA0615855EB4}"/>
          </ac:spMkLst>
        </pc:spChg>
        <pc:spChg chg="add del mod">
          <ac:chgData name="Bantei Sangma [Chillibreeze]" userId="e7070ce9-26a8-4d3a-99f4-f2ac4567d4da" providerId="ADAL" clId="{CFF9C8AC-91C6-4F66-919E-79B541F6FF2E}" dt="2020-07-10T06:47:42.713" v="952" actId="478"/>
          <ac:spMkLst>
            <pc:docMk/>
            <pc:sldMk cId="392330573" sldId="1509"/>
            <ac:spMk id="4" creationId="{5439C183-8ADD-4DA9-8B3B-55C66B2C34E6}"/>
          </ac:spMkLst>
        </pc:spChg>
        <pc:spChg chg="add del mod">
          <ac:chgData name="Bantei Sangma [Chillibreeze]" userId="e7070ce9-26a8-4d3a-99f4-f2ac4567d4da" providerId="ADAL" clId="{CFF9C8AC-91C6-4F66-919E-79B541F6FF2E}" dt="2020-07-10T06:47:42.713" v="952" actId="478"/>
          <ac:spMkLst>
            <pc:docMk/>
            <pc:sldMk cId="392330573" sldId="1509"/>
            <ac:spMk id="5" creationId="{ED41FC90-294E-4595-9439-2AEEE341F375}"/>
          </ac:spMkLst>
        </pc:spChg>
        <pc:spChg chg="add del mod">
          <ac:chgData name="Bantei Sangma [Chillibreeze]" userId="e7070ce9-26a8-4d3a-99f4-f2ac4567d4da" providerId="ADAL" clId="{CFF9C8AC-91C6-4F66-919E-79B541F6FF2E}" dt="2020-07-10T11:09:42.496" v="3724" actId="478"/>
          <ac:spMkLst>
            <pc:docMk/>
            <pc:sldMk cId="392330573" sldId="1509"/>
            <ac:spMk id="6" creationId="{479064B0-3CAE-42B4-B52D-93EAF6DCCE0C}"/>
          </ac:spMkLst>
        </pc:spChg>
        <pc:spChg chg="del mod topLvl">
          <ac:chgData name="Bantei Sangma [Chillibreeze]" userId="e7070ce9-26a8-4d3a-99f4-f2ac4567d4da" providerId="ADAL" clId="{CFF9C8AC-91C6-4F66-919E-79B541F6FF2E}" dt="2020-07-10T06:44:57.817" v="903" actId="478"/>
          <ac:spMkLst>
            <pc:docMk/>
            <pc:sldMk cId="392330573" sldId="1509"/>
            <ac:spMk id="9" creationId="{439FCDCD-2271-4041-842A-09A151894B30}"/>
          </ac:spMkLst>
        </pc:spChg>
        <pc:spChg chg="del mod ord topLvl">
          <ac:chgData name="Bantei Sangma [Chillibreeze]" userId="e7070ce9-26a8-4d3a-99f4-f2ac4567d4da" providerId="ADAL" clId="{CFF9C8AC-91C6-4F66-919E-79B541F6FF2E}" dt="2020-07-10T06:44:57.817" v="903" actId="478"/>
          <ac:spMkLst>
            <pc:docMk/>
            <pc:sldMk cId="392330573" sldId="1509"/>
            <ac:spMk id="10" creationId="{CBBE644C-52D4-4F42-9547-EA000615F581}"/>
          </ac:spMkLst>
        </pc:spChg>
        <pc:spChg chg="del mod topLvl">
          <ac:chgData name="Bantei Sangma [Chillibreeze]" userId="e7070ce9-26a8-4d3a-99f4-f2ac4567d4da" providerId="ADAL" clId="{CFF9C8AC-91C6-4F66-919E-79B541F6FF2E}" dt="2020-07-10T06:44:55.127" v="902" actId="478"/>
          <ac:spMkLst>
            <pc:docMk/>
            <pc:sldMk cId="392330573" sldId="1509"/>
            <ac:spMk id="11" creationId="{50D04C10-5E14-4F98-B087-829BA26D1C23}"/>
          </ac:spMkLst>
        </pc:spChg>
        <pc:spChg chg="del mod topLvl">
          <ac:chgData name="Bantei Sangma [Chillibreeze]" userId="e7070ce9-26a8-4d3a-99f4-f2ac4567d4da" providerId="ADAL" clId="{CFF9C8AC-91C6-4F66-919E-79B541F6FF2E}" dt="2020-07-10T06:44:55.127" v="902" actId="478"/>
          <ac:spMkLst>
            <pc:docMk/>
            <pc:sldMk cId="392330573" sldId="1509"/>
            <ac:spMk id="12" creationId="{B4A62B38-61BD-4D0B-8061-D530DFEBA98F}"/>
          </ac:spMkLst>
        </pc:spChg>
        <pc:spChg chg="add del mod">
          <ac:chgData name="Bantei Sangma [Chillibreeze]" userId="e7070ce9-26a8-4d3a-99f4-f2ac4567d4da" providerId="ADAL" clId="{CFF9C8AC-91C6-4F66-919E-79B541F6FF2E}" dt="2020-07-10T06:45:03.552" v="907"/>
          <ac:spMkLst>
            <pc:docMk/>
            <pc:sldMk cId="392330573" sldId="1509"/>
            <ac:spMk id="13" creationId="{3742C858-F7D9-42F5-864B-F51EE0C13CF4}"/>
          </ac:spMkLst>
        </pc:spChg>
        <pc:spChg chg="add del mod topLvl">
          <ac:chgData name="Bantei Sangma [Chillibreeze]" userId="e7070ce9-26a8-4d3a-99f4-f2ac4567d4da" providerId="ADAL" clId="{CFF9C8AC-91C6-4F66-919E-79B541F6FF2E}" dt="2020-07-10T07:02:26.941" v="1014" actId="478"/>
          <ac:spMkLst>
            <pc:docMk/>
            <pc:sldMk cId="392330573" sldId="1509"/>
            <ac:spMk id="14" creationId="{7E257B2E-B701-45A3-A46C-902C6DCD2492}"/>
          </ac:spMkLst>
        </pc:spChg>
        <pc:spChg chg="add del mod topLvl">
          <ac:chgData name="Bantei Sangma [Chillibreeze]" userId="e7070ce9-26a8-4d3a-99f4-f2ac4567d4da" providerId="ADAL" clId="{CFF9C8AC-91C6-4F66-919E-79B541F6FF2E}" dt="2020-07-10T07:02:25.932" v="1013" actId="478"/>
          <ac:spMkLst>
            <pc:docMk/>
            <pc:sldMk cId="392330573" sldId="1509"/>
            <ac:spMk id="15" creationId="{ACE613C1-7896-4CB5-8657-E563189F58E0}"/>
          </ac:spMkLst>
        </pc:spChg>
        <pc:spChg chg="add del mod">
          <ac:chgData name="Bantei Sangma [Chillibreeze]" userId="e7070ce9-26a8-4d3a-99f4-f2ac4567d4da" providerId="ADAL" clId="{CFF9C8AC-91C6-4F66-919E-79B541F6FF2E}" dt="2020-07-10T07:03:23.014" v="1033" actId="478"/>
          <ac:spMkLst>
            <pc:docMk/>
            <pc:sldMk cId="392330573" sldId="1509"/>
            <ac:spMk id="17" creationId="{E0C8701C-74F5-4812-A711-AEBAD0639F84}"/>
          </ac:spMkLst>
        </pc:spChg>
        <pc:spChg chg="add del mod">
          <ac:chgData name="Bantei Sangma [Chillibreeze]" userId="e7070ce9-26a8-4d3a-99f4-f2ac4567d4da" providerId="ADAL" clId="{CFF9C8AC-91C6-4F66-919E-79B541F6FF2E}" dt="2020-07-10T06:46:02.194" v="918"/>
          <ac:spMkLst>
            <pc:docMk/>
            <pc:sldMk cId="392330573" sldId="1509"/>
            <ac:spMk id="18" creationId="{269516D9-D6FF-41DF-8D28-8223F844855C}"/>
          </ac:spMkLst>
        </pc:spChg>
        <pc:spChg chg="add del mod">
          <ac:chgData name="Bantei Sangma [Chillibreeze]" userId="e7070ce9-26a8-4d3a-99f4-f2ac4567d4da" providerId="ADAL" clId="{CFF9C8AC-91C6-4F66-919E-79B541F6FF2E}" dt="2020-07-10T06:59:33.668" v="1005" actId="478"/>
          <ac:spMkLst>
            <pc:docMk/>
            <pc:sldMk cId="392330573" sldId="1509"/>
            <ac:spMk id="19" creationId="{B48AC6D7-596B-4081-A02C-8A0FBB6B546E}"/>
          </ac:spMkLst>
        </pc:spChg>
        <pc:spChg chg="add mod ord">
          <ac:chgData name="Bantei Sangma [Chillibreeze]" userId="e7070ce9-26a8-4d3a-99f4-f2ac4567d4da" providerId="ADAL" clId="{CFF9C8AC-91C6-4F66-919E-79B541F6FF2E}" dt="2020-07-10T11:15:02.613" v="4395" actId="1036"/>
          <ac:spMkLst>
            <pc:docMk/>
            <pc:sldMk cId="392330573" sldId="1509"/>
            <ac:spMk id="20" creationId="{5C491DC2-3220-434B-AC10-3B41F184C922}"/>
          </ac:spMkLst>
        </pc:spChg>
        <pc:spChg chg="add mod">
          <ac:chgData name="Bantei Sangma [Chillibreeze]" userId="e7070ce9-26a8-4d3a-99f4-f2ac4567d4da" providerId="ADAL" clId="{CFF9C8AC-91C6-4F66-919E-79B541F6FF2E}" dt="2020-07-10T11:14:30.795" v="4384" actId="299"/>
          <ac:spMkLst>
            <pc:docMk/>
            <pc:sldMk cId="392330573" sldId="1509"/>
            <ac:spMk id="21" creationId="{B450E70E-ED61-46D9-ACC0-942C90402818}"/>
          </ac:spMkLst>
        </pc:spChg>
        <pc:spChg chg="add mod">
          <ac:chgData name="Bantei Sangma [Chillibreeze]" userId="e7070ce9-26a8-4d3a-99f4-f2ac4567d4da" providerId="ADAL" clId="{CFF9C8AC-91C6-4F66-919E-79B541F6FF2E}" dt="2020-07-10T11:13:16.351" v="3760" actId="1036"/>
          <ac:spMkLst>
            <pc:docMk/>
            <pc:sldMk cId="392330573" sldId="1509"/>
            <ac:spMk id="23" creationId="{4DC59243-89B0-493B-B148-C6FF1F473294}"/>
          </ac:spMkLst>
        </pc:spChg>
        <pc:spChg chg="add mod topLvl">
          <ac:chgData name="Bantei Sangma [Chillibreeze]" userId="e7070ce9-26a8-4d3a-99f4-f2ac4567d4da" providerId="ADAL" clId="{CFF9C8AC-91C6-4F66-919E-79B541F6FF2E}" dt="2020-07-10T11:30:33.805" v="4482" actId="207"/>
          <ac:spMkLst>
            <pc:docMk/>
            <pc:sldMk cId="392330573" sldId="1509"/>
            <ac:spMk id="24" creationId="{44BEBC40-73AB-4E31-AC90-96A272D4405A}"/>
          </ac:spMkLst>
        </pc:spChg>
        <pc:spChg chg="add mod topLvl">
          <ac:chgData name="Bantei Sangma [Chillibreeze]" userId="e7070ce9-26a8-4d3a-99f4-f2ac4567d4da" providerId="ADAL" clId="{CFF9C8AC-91C6-4F66-919E-79B541F6FF2E}" dt="2020-07-10T11:30:33.805" v="4482" actId="207"/>
          <ac:spMkLst>
            <pc:docMk/>
            <pc:sldMk cId="392330573" sldId="1509"/>
            <ac:spMk id="25" creationId="{6E120F6A-7BD5-4C1A-81F9-7B6151534432}"/>
          </ac:spMkLst>
        </pc:spChg>
        <pc:spChg chg="add mod topLvl">
          <ac:chgData name="Bantei Sangma [Chillibreeze]" userId="e7070ce9-26a8-4d3a-99f4-f2ac4567d4da" providerId="ADAL" clId="{CFF9C8AC-91C6-4F66-919E-79B541F6FF2E}" dt="2020-07-10T11:30:33.805" v="4482" actId="207"/>
          <ac:spMkLst>
            <pc:docMk/>
            <pc:sldMk cId="392330573" sldId="1509"/>
            <ac:spMk id="26" creationId="{FB854654-FD9B-46D7-A7A6-DBD9638A0B89}"/>
          </ac:spMkLst>
        </pc:spChg>
        <pc:spChg chg="add mod">
          <ac:chgData name="Bantei Sangma [Chillibreeze]" userId="e7070ce9-26a8-4d3a-99f4-f2ac4567d4da" providerId="ADAL" clId="{CFF9C8AC-91C6-4F66-919E-79B541F6FF2E}" dt="2020-07-10T11:09:48.013" v="3728" actId="14100"/>
          <ac:spMkLst>
            <pc:docMk/>
            <pc:sldMk cId="392330573" sldId="1509"/>
            <ac:spMk id="31" creationId="{94CD3131-AF3D-4ADE-89AB-5F29E2A75EDA}"/>
          </ac:spMkLst>
        </pc:spChg>
        <pc:spChg chg="add del mod">
          <ac:chgData name="Bantei Sangma [Chillibreeze]" userId="e7070ce9-26a8-4d3a-99f4-f2ac4567d4da" providerId="ADAL" clId="{CFF9C8AC-91C6-4F66-919E-79B541F6FF2E}" dt="2020-07-10T11:23:32.563" v="4460" actId="478"/>
          <ac:spMkLst>
            <pc:docMk/>
            <pc:sldMk cId="392330573" sldId="1509"/>
            <ac:spMk id="32" creationId="{BCEAE37A-1D03-4BC9-AD76-4BC54767073D}"/>
          </ac:spMkLst>
        </pc:spChg>
        <pc:spChg chg="add del mod">
          <ac:chgData name="Bantei Sangma [Chillibreeze]" userId="e7070ce9-26a8-4d3a-99f4-f2ac4567d4da" providerId="ADAL" clId="{CFF9C8AC-91C6-4F66-919E-79B541F6FF2E}" dt="2020-07-10T11:23:32.563" v="4460" actId="478"/>
          <ac:spMkLst>
            <pc:docMk/>
            <pc:sldMk cId="392330573" sldId="1509"/>
            <ac:spMk id="33" creationId="{9A11678F-1289-409D-BC03-848F19892154}"/>
          </ac:spMkLst>
        </pc:spChg>
        <pc:spChg chg="add del mod">
          <ac:chgData name="Bantei Sangma [Chillibreeze]" userId="e7070ce9-26a8-4d3a-99f4-f2ac4567d4da" providerId="ADAL" clId="{CFF9C8AC-91C6-4F66-919E-79B541F6FF2E}" dt="2020-07-10T11:23:32.563" v="4460" actId="478"/>
          <ac:spMkLst>
            <pc:docMk/>
            <pc:sldMk cId="392330573" sldId="1509"/>
            <ac:spMk id="34" creationId="{65D97D99-6D06-4923-9728-D2075FCDA31F}"/>
          </ac:spMkLst>
        </pc:spChg>
        <pc:spChg chg="add del mod">
          <ac:chgData name="Bantei Sangma [Chillibreeze]" userId="e7070ce9-26a8-4d3a-99f4-f2ac4567d4da" providerId="ADAL" clId="{CFF9C8AC-91C6-4F66-919E-79B541F6FF2E}" dt="2020-07-10T11:23:32.563" v="4460" actId="478"/>
          <ac:spMkLst>
            <pc:docMk/>
            <pc:sldMk cId="392330573" sldId="1509"/>
            <ac:spMk id="35" creationId="{656836F9-D0E8-44A2-8A08-B9CB46C36E12}"/>
          </ac:spMkLst>
        </pc:spChg>
        <pc:grpChg chg="mod">
          <ac:chgData name="Bantei Sangma [Chillibreeze]" userId="e7070ce9-26a8-4d3a-99f4-f2ac4567d4da" providerId="ADAL" clId="{CFF9C8AC-91C6-4F66-919E-79B541F6FF2E}" dt="2020-07-10T06:43:29.626" v="887" actId="338"/>
          <ac:grpSpMkLst>
            <pc:docMk/>
            <pc:sldMk cId="392330573" sldId="1509"/>
            <ac:grpSpMk id="1" creationId="{00000000-0000-0000-0000-000000000000}"/>
          </ac:grpSpMkLst>
        </pc:grpChg>
        <pc:grpChg chg="del mod">
          <ac:chgData name="Bantei Sangma [Chillibreeze]" userId="e7070ce9-26a8-4d3a-99f4-f2ac4567d4da" providerId="ADAL" clId="{CFF9C8AC-91C6-4F66-919E-79B541F6FF2E}" dt="2020-07-10T06:43:31.537" v="888" actId="165"/>
          <ac:grpSpMkLst>
            <pc:docMk/>
            <pc:sldMk cId="392330573" sldId="1509"/>
            <ac:grpSpMk id="8" creationId="{559C86C0-4FB6-41E4-958A-51A819669A3C}"/>
          </ac:grpSpMkLst>
        </pc:grpChg>
        <pc:grpChg chg="add del mod">
          <ac:chgData name="Bantei Sangma [Chillibreeze]" userId="e7070ce9-26a8-4d3a-99f4-f2ac4567d4da" providerId="ADAL" clId="{CFF9C8AC-91C6-4F66-919E-79B541F6FF2E}" dt="2020-07-10T06:56:28.130" v="998" actId="165"/>
          <ac:grpSpMkLst>
            <pc:docMk/>
            <pc:sldMk cId="392330573" sldId="1509"/>
            <ac:grpSpMk id="16" creationId="{AF82DC05-DF67-4EC8-B5C7-70E94D8675D5}"/>
          </ac:grpSpMkLst>
        </pc:grpChg>
        <pc:grpChg chg="add del mod">
          <ac:chgData name="Bantei Sangma [Chillibreeze]" userId="e7070ce9-26a8-4d3a-99f4-f2ac4567d4da" providerId="ADAL" clId="{CFF9C8AC-91C6-4F66-919E-79B541F6FF2E}" dt="2020-07-10T06:56:51.165" v="1001" actId="165"/>
          <ac:grpSpMkLst>
            <pc:docMk/>
            <pc:sldMk cId="392330573" sldId="1509"/>
            <ac:grpSpMk id="22" creationId="{CE0EA4B8-014A-4438-BFD1-7686A7A7CD42}"/>
          </ac:grpSpMkLst>
        </pc:grpChg>
        <pc:grpChg chg="add del mod">
          <ac:chgData name="Bantei Sangma [Chillibreeze]" userId="e7070ce9-26a8-4d3a-99f4-f2ac4567d4da" providerId="ADAL" clId="{CFF9C8AC-91C6-4F66-919E-79B541F6FF2E}" dt="2020-07-10T09:38:54.744" v="2888" actId="165"/>
          <ac:grpSpMkLst>
            <pc:docMk/>
            <pc:sldMk cId="392330573" sldId="1509"/>
            <ac:grpSpMk id="27" creationId="{E4D7B667-0BBD-4139-BDDA-0FA85190E8E8}"/>
          </ac:grpSpMkLst>
        </pc:grpChg>
        <pc:grpChg chg="add del mod">
          <ac:chgData name="Bantei Sangma [Chillibreeze]" userId="e7070ce9-26a8-4d3a-99f4-f2ac4567d4da" providerId="ADAL" clId="{CFF9C8AC-91C6-4F66-919E-79B541F6FF2E}" dt="2020-07-10T09:39:15.131" v="2892" actId="165"/>
          <ac:grpSpMkLst>
            <pc:docMk/>
            <pc:sldMk cId="392330573" sldId="1509"/>
            <ac:grpSpMk id="28" creationId="{98AF055C-FFC6-4479-BC48-77A530A275FF}"/>
          </ac:grpSpMkLst>
        </pc:grpChg>
        <pc:grpChg chg="add del mod">
          <ac:chgData name="Bantei Sangma [Chillibreeze]" userId="e7070ce9-26a8-4d3a-99f4-f2ac4567d4da" providerId="ADAL" clId="{CFF9C8AC-91C6-4F66-919E-79B541F6FF2E}" dt="2020-07-10T09:41:02.792" v="2909" actId="165"/>
          <ac:grpSpMkLst>
            <pc:docMk/>
            <pc:sldMk cId="392330573" sldId="1509"/>
            <ac:grpSpMk id="29" creationId="{646B1572-472B-4D0B-9F6E-3919BE4B25CC}"/>
          </ac:grpSpMkLst>
        </pc:grpChg>
        <pc:grpChg chg="add del mod">
          <ac:chgData name="Bantei Sangma [Chillibreeze]" userId="e7070ce9-26a8-4d3a-99f4-f2ac4567d4da" providerId="ADAL" clId="{CFF9C8AC-91C6-4F66-919E-79B541F6FF2E}" dt="2020-07-10T10:57:06.109" v="3660" actId="165"/>
          <ac:grpSpMkLst>
            <pc:docMk/>
            <pc:sldMk cId="392330573" sldId="1509"/>
            <ac:grpSpMk id="30" creationId="{7B0E0AF6-B771-4A18-B885-3A39287613F6}"/>
          </ac:grpSpMkLst>
        </pc:grpChg>
        <pc:picChg chg="add del mod">
          <ac:chgData name="Bantei Sangma [Chillibreeze]" userId="e7070ce9-26a8-4d3a-99f4-f2ac4567d4da" providerId="ADAL" clId="{CFF9C8AC-91C6-4F66-919E-79B541F6FF2E}" dt="2020-07-10T06:43:29.626" v="887" actId="338"/>
          <ac:picMkLst>
            <pc:docMk/>
            <pc:sldMk cId="392330573" sldId="1509"/>
            <ac:picMk id="7" creationId="{778A62F2-5239-47E2-B5A8-0C4CE53180AC}"/>
          </ac:picMkLst>
        </pc:picChg>
      </pc:sldChg>
      <pc:sldChg chg="addSp delSp modSp mod modClrScheme chgLayout">
        <pc:chgData name="Bantei Sangma [Chillibreeze]" userId="e7070ce9-26a8-4d3a-99f4-f2ac4567d4da" providerId="ADAL" clId="{CFF9C8AC-91C6-4F66-919E-79B541F6FF2E}" dt="2020-07-10T10:36:03.566" v="3515"/>
        <pc:sldMkLst>
          <pc:docMk/>
          <pc:sldMk cId="4084345833" sldId="1510"/>
        </pc:sldMkLst>
        <pc:spChg chg="mod ord">
          <ac:chgData name="Bantei Sangma [Chillibreeze]" userId="e7070ce9-26a8-4d3a-99f4-f2ac4567d4da" providerId="ADAL" clId="{CFF9C8AC-91C6-4F66-919E-79B541F6FF2E}" dt="2020-07-10T09:46:33.742" v="2942"/>
          <ac:spMkLst>
            <pc:docMk/>
            <pc:sldMk cId="4084345833" sldId="1510"/>
            <ac:spMk id="2" creationId="{544A83E9-9D3F-4D27-92C5-3271240ED3D2}"/>
          </ac:spMkLst>
        </pc:spChg>
        <pc:spChg chg="add del mod ord">
          <ac:chgData name="Bantei Sangma [Chillibreeze]" userId="e7070ce9-26a8-4d3a-99f4-f2ac4567d4da" providerId="ADAL" clId="{CFF9C8AC-91C6-4F66-919E-79B541F6FF2E}" dt="2020-07-10T09:46:31.599" v="2941"/>
          <ac:spMkLst>
            <pc:docMk/>
            <pc:sldMk cId="4084345833" sldId="1510"/>
            <ac:spMk id="3" creationId="{16F1D8E5-8B7D-420F-B5D3-DCB9FE4EC13E}"/>
          </ac:spMkLst>
        </pc:spChg>
        <pc:spChg chg="add del mod">
          <ac:chgData name="Bantei Sangma [Chillibreeze]" userId="e7070ce9-26a8-4d3a-99f4-f2ac4567d4da" providerId="ADAL" clId="{CFF9C8AC-91C6-4F66-919E-79B541F6FF2E}" dt="2020-07-10T09:46:31.599" v="2941"/>
          <ac:spMkLst>
            <pc:docMk/>
            <pc:sldMk cId="4084345833" sldId="1510"/>
            <ac:spMk id="4" creationId="{D8021FCF-380E-43EB-96FE-F9A4190BC132}"/>
          </ac:spMkLst>
        </pc:spChg>
        <pc:spChg chg="add del mod">
          <ac:chgData name="Bantei Sangma [Chillibreeze]" userId="e7070ce9-26a8-4d3a-99f4-f2ac4567d4da" providerId="ADAL" clId="{CFF9C8AC-91C6-4F66-919E-79B541F6FF2E}" dt="2020-07-10T09:46:33.742" v="2942"/>
          <ac:spMkLst>
            <pc:docMk/>
            <pc:sldMk cId="4084345833" sldId="1510"/>
            <ac:spMk id="5" creationId="{7A5C227E-0665-47B1-86FF-EF43D329449A}"/>
          </ac:spMkLst>
        </pc:spChg>
        <pc:spChg chg="add del mod">
          <ac:chgData name="Bantei Sangma [Chillibreeze]" userId="e7070ce9-26a8-4d3a-99f4-f2ac4567d4da" providerId="ADAL" clId="{CFF9C8AC-91C6-4F66-919E-79B541F6FF2E}" dt="2020-07-10T09:46:33.742" v="2942"/>
          <ac:spMkLst>
            <pc:docMk/>
            <pc:sldMk cId="4084345833" sldId="1510"/>
            <ac:spMk id="6" creationId="{4441C2B8-3736-4AF4-9B22-113A44995A96}"/>
          </ac:spMkLst>
        </pc:spChg>
        <pc:spChg chg="add del mod">
          <ac:chgData name="Bantei Sangma [Chillibreeze]" userId="e7070ce9-26a8-4d3a-99f4-f2ac4567d4da" providerId="ADAL" clId="{CFF9C8AC-91C6-4F66-919E-79B541F6FF2E}" dt="2020-07-10T10:36:02.548" v="3514" actId="478"/>
          <ac:spMkLst>
            <pc:docMk/>
            <pc:sldMk cId="4084345833" sldId="1510"/>
            <ac:spMk id="7" creationId="{4386E3B9-B37B-4CD3-822A-BC4E7F8868BD}"/>
          </ac:spMkLst>
        </pc:spChg>
        <pc:spChg chg="add mod">
          <ac:chgData name="Bantei Sangma [Chillibreeze]" userId="e7070ce9-26a8-4d3a-99f4-f2ac4567d4da" providerId="ADAL" clId="{CFF9C8AC-91C6-4F66-919E-79B541F6FF2E}" dt="2020-07-10T10:36:03.566" v="3515"/>
          <ac:spMkLst>
            <pc:docMk/>
            <pc:sldMk cId="4084345833" sldId="1510"/>
            <ac:spMk id="8" creationId="{153BB59C-73F3-4C7F-BB12-2AB37BE921B8}"/>
          </ac:spMkLst>
        </pc:spChg>
      </pc:sldChg>
      <pc:sldChg chg="addSp delSp modSp mod">
        <pc:chgData name="Bantei Sangma [Chillibreeze]" userId="e7070ce9-26a8-4d3a-99f4-f2ac4567d4da" providerId="ADAL" clId="{CFF9C8AC-91C6-4F66-919E-79B541F6FF2E}" dt="2020-07-10T11:33:31.952" v="4492" actId="692"/>
        <pc:sldMkLst>
          <pc:docMk/>
          <pc:sldMk cId="1301972457" sldId="1511"/>
        </pc:sldMkLst>
        <pc:spChg chg="add del mod">
          <ac:chgData name="Bantei Sangma [Chillibreeze]" userId="e7070ce9-26a8-4d3a-99f4-f2ac4567d4da" providerId="ADAL" clId="{CFF9C8AC-91C6-4F66-919E-79B541F6FF2E}" dt="2020-07-10T07:14:42.910" v="1187" actId="478"/>
          <ac:spMkLst>
            <pc:docMk/>
            <pc:sldMk cId="1301972457" sldId="1511"/>
            <ac:spMk id="3" creationId="{F800A934-0BA0-4085-9E12-0515DA13A4B3}"/>
          </ac:spMkLst>
        </pc:spChg>
        <pc:spChg chg="add mod topLvl">
          <ac:chgData name="Bantei Sangma [Chillibreeze]" userId="e7070ce9-26a8-4d3a-99f4-f2ac4567d4da" providerId="ADAL" clId="{CFF9C8AC-91C6-4F66-919E-79B541F6FF2E}" dt="2020-07-10T11:30:59.592" v="4484" actId="207"/>
          <ac:spMkLst>
            <pc:docMk/>
            <pc:sldMk cId="1301972457" sldId="1511"/>
            <ac:spMk id="5" creationId="{34F18174-5185-4C41-9A4B-004E642CF798}"/>
          </ac:spMkLst>
        </pc:spChg>
        <pc:spChg chg="add mod topLvl">
          <ac:chgData name="Bantei Sangma [Chillibreeze]" userId="e7070ce9-26a8-4d3a-99f4-f2ac4567d4da" providerId="ADAL" clId="{CFF9C8AC-91C6-4F66-919E-79B541F6FF2E}" dt="2020-07-10T11:30:59.592" v="4484" actId="207"/>
          <ac:spMkLst>
            <pc:docMk/>
            <pc:sldMk cId="1301972457" sldId="1511"/>
            <ac:spMk id="7" creationId="{C9921934-84FB-43C1-BA3E-BFDB4BB0080D}"/>
          </ac:spMkLst>
        </pc:spChg>
        <pc:spChg chg="add mod topLvl">
          <ac:chgData name="Bantei Sangma [Chillibreeze]" userId="e7070ce9-26a8-4d3a-99f4-f2ac4567d4da" providerId="ADAL" clId="{CFF9C8AC-91C6-4F66-919E-79B541F6FF2E}" dt="2020-07-10T11:30:59.592" v="4484" actId="207"/>
          <ac:spMkLst>
            <pc:docMk/>
            <pc:sldMk cId="1301972457" sldId="1511"/>
            <ac:spMk id="10" creationId="{0B529BE9-A9DC-4E58-8720-E4C5C19D35BA}"/>
          </ac:spMkLst>
        </pc:spChg>
        <pc:spChg chg="add mod topLvl">
          <ac:chgData name="Bantei Sangma [Chillibreeze]" userId="e7070ce9-26a8-4d3a-99f4-f2ac4567d4da" providerId="ADAL" clId="{CFF9C8AC-91C6-4F66-919E-79B541F6FF2E}" dt="2020-07-10T11:30:59.592" v="4484" actId="207"/>
          <ac:spMkLst>
            <pc:docMk/>
            <pc:sldMk cId="1301972457" sldId="1511"/>
            <ac:spMk id="12" creationId="{67851E99-1163-46A4-A7A6-A86052DE0BD0}"/>
          </ac:spMkLst>
        </pc:spChg>
        <pc:grpChg chg="add del mod">
          <ac:chgData name="Bantei Sangma [Chillibreeze]" userId="e7070ce9-26a8-4d3a-99f4-f2ac4567d4da" providerId="ADAL" clId="{CFF9C8AC-91C6-4F66-919E-79B541F6FF2E}" dt="2020-07-10T07:14:11.938" v="1179" actId="165"/>
          <ac:grpSpMkLst>
            <pc:docMk/>
            <pc:sldMk cId="1301972457" sldId="1511"/>
            <ac:grpSpMk id="13" creationId="{7BD26536-4AAB-4D7A-B7D1-125997A9C0ED}"/>
          </ac:grpSpMkLst>
        </pc:grpChg>
        <pc:grpChg chg="add del mod">
          <ac:chgData name="Bantei Sangma [Chillibreeze]" userId="e7070ce9-26a8-4d3a-99f4-f2ac4567d4da" providerId="ADAL" clId="{CFF9C8AC-91C6-4F66-919E-79B541F6FF2E}" dt="2020-07-10T07:14:11.938" v="1179" actId="165"/>
          <ac:grpSpMkLst>
            <pc:docMk/>
            <pc:sldMk cId="1301972457" sldId="1511"/>
            <ac:grpSpMk id="14" creationId="{D8476BA8-32CF-4FD7-A3D4-8A3AC3281FE7}"/>
          </ac:grpSpMkLst>
        </pc:grpChg>
        <pc:grpChg chg="add del mod">
          <ac:chgData name="Bantei Sangma [Chillibreeze]" userId="e7070ce9-26a8-4d3a-99f4-f2ac4567d4da" providerId="ADAL" clId="{CFF9C8AC-91C6-4F66-919E-79B541F6FF2E}" dt="2020-07-10T07:14:11.938" v="1179" actId="165"/>
          <ac:grpSpMkLst>
            <pc:docMk/>
            <pc:sldMk cId="1301972457" sldId="1511"/>
            <ac:grpSpMk id="15" creationId="{2B15CCF3-80B6-48FA-80AF-B4750200C46E}"/>
          </ac:grpSpMkLst>
        </pc:grpChg>
        <pc:grpChg chg="add del mod">
          <ac:chgData name="Bantei Sangma [Chillibreeze]" userId="e7070ce9-26a8-4d3a-99f4-f2ac4567d4da" providerId="ADAL" clId="{CFF9C8AC-91C6-4F66-919E-79B541F6FF2E}" dt="2020-07-10T07:14:11.938" v="1179" actId="165"/>
          <ac:grpSpMkLst>
            <pc:docMk/>
            <pc:sldMk cId="1301972457" sldId="1511"/>
            <ac:grpSpMk id="16" creationId="{180B616A-35A5-4A4A-9877-0250BB87A447}"/>
          </ac:grpSpMkLst>
        </pc:grpChg>
        <pc:picChg chg="add mod topLvl">
          <ac:chgData name="Bantei Sangma [Chillibreeze]" userId="e7070ce9-26a8-4d3a-99f4-f2ac4567d4da" providerId="ADAL" clId="{CFF9C8AC-91C6-4F66-919E-79B541F6FF2E}" dt="2020-07-10T07:14:11.938" v="1179" actId="165"/>
          <ac:picMkLst>
            <pc:docMk/>
            <pc:sldMk cId="1301972457" sldId="1511"/>
            <ac:picMk id="4" creationId="{534F6136-0702-4CFB-AABA-68B66D5DA0F6}"/>
          </ac:picMkLst>
        </pc:picChg>
        <pc:picChg chg="add mod topLvl">
          <ac:chgData name="Bantei Sangma [Chillibreeze]" userId="e7070ce9-26a8-4d3a-99f4-f2ac4567d4da" providerId="ADAL" clId="{CFF9C8AC-91C6-4F66-919E-79B541F6FF2E}" dt="2020-07-10T07:14:11.938" v="1179" actId="165"/>
          <ac:picMkLst>
            <pc:docMk/>
            <pc:sldMk cId="1301972457" sldId="1511"/>
            <ac:picMk id="6" creationId="{B11F4743-C48D-4BCD-A46D-5D8F33CEC0D3}"/>
          </ac:picMkLst>
        </pc:picChg>
        <pc:picChg chg="add mod topLvl">
          <ac:chgData name="Bantei Sangma [Chillibreeze]" userId="e7070ce9-26a8-4d3a-99f4-f2ac4567d4da" providerId="ADAL" clId="{CFF9C8AC-91C6-4F66-919E-79B541F6FF2E}" dt="2020-07-10T07:14:11.938" v="1179" actId="165"/>
          <ac:picMkLst>
            <pc:docMk/>
            <pc:sldMk cId="1301972457" sldId="1511"/>
            <ac:picMk id="9" creationId="{4C18C018-D015-493A-A261-3E277AC1CDB1}"/>
          </ac:picMkLst>
        </pc:picChg>
        <pc:picChg chg="add mod topLvl">
          <ac:chgData name="Bantei Sangma [Chillibreeze]" userId="e7070ce9-26a8-4d3a-99f4-f2ac4567d4da" providerId="ADAL" clId="{CFF9C8AC-91C6-4F66-919E-79B541F6FF2E}" dt="2020-07-10T07:14:11.938" v="1179" actId="165"/>
          <ac:picMkLst>
            <pc:docMk/>
            <pc:sldMk cId="1301972457" sldId="1511"/>
            <ac:picMk id="11" creationId="{D962F733-5C26-447D-B2C0-10DE97EDB627}"/>
          </ac:picMkLst>
        </pc:picChg>
        <pc:picChg chg="add mod">
          <ac:chgData name="Bantei Sangma [Chillibreeze]" userId="e7070ce9-26a8-4d3a-99f4-f2ac4567d4da" providerId="ADAL" clId="{CFF9C8AC-91C6-4F66-919E-79B541F6FF2E}" dt="2020-07-10T09:32:36.268" v="2818" actId="1076"/>
          <ac:picMkLst>
            <pc:docMk/>
            <pc:sldMk cId="1301972457" sldId="1511"/>
            <ac:picMk id="22" creationId="{861F5803-18E9-4CD4-B57A-D01934D17FF9}"/>
          </ac:picMkLst>
        </pc:picChg>
        <pc:picChg chg="add mod">
          <ac:chgData name="Bantei Sangma [Chillibreeze]" userId="e7070ce9-26a8-4d3a-99f4-f2ac4567d4da" providerId="ADAL" clId="{CFF9C8AC-91C6-4F66-919E-79B541F6FF2E}" dt="2020-07-10T09:33:49.461" v="2823" actId="1076"/>
          <ac:picMkLst>
            <pc:docMk/>
            <pc:sldMk cId="1301972457" sldId="1511"/>
            <ac:picMk id="23" creationId="{931C1531-FCAD-430B-B2D5-ADC13F4C1E00}"/>
          </ac:picMkLst>
        </pc:picChg>
        <pc:picChg chg="add del mod">
          <ac:chgData name="Bantei Sangma [Chillibreeze]" userId="e7070ce9-26a8-4d3a-99f4-f2ac4567d4da" providerId="ADAL" clId="{CFF9C8AC-91C6-4F66-919E-79B541F6FF2E}" dt="2020-07-10T09:34:16.395" v="2828" actId="478"/>
          <ac:picMkLst>
            <pc:docMk/>
            <pc:sldMk cId="1301972457" sldId="1511"/>
            <ac:picMk id="24" creationId="{7148EB65-498E-4CA4-8790-E59C1E29CCAD}"/>
          </ac:picMkLst>
        </pc:picChg>
        <pc:picChg chg="add mod">
          <ac:chgData name="Bantei Sangma [Chillibreeze]" userId="e7070ce9-26a8-4d3a-99f4-f2ac4567d4da" providerId="ADAL" clId="{CFF9C8AC-91C6-4F66-919E-79B541F6FF2E}" dt="2020-07-10T09:34:27.388" v="2832" actId="1076"/>
          <ac:picMkLst>
            <pc:docMk/>
            <pc:sldMk cId="1301972457" sldId="1511"/>
            <ac:picMk id="25" creationId="{F4802FDF-7277-4F5B-ADBD-4BB8E029D7BD}"/>
          </ac:picMkLst>
        </pc:picChg>
        <pc:picChg chg="add mod">
          <ac:chgData name="Bantei Sangma [Chillibreeze]" userId="e7070ce9-26a8-4d3a-99f4-f2ac4567d4da" providerId="ADAL" clId="{CFF9C8AC-91C6-4F66-919E-79B541F6FF2E}" dt="2020-07-10T09:50:55.437" v="2952" actId="1076"/>
          <ac:picMkLst>
            <pc:docMk/>
            <pc:sldMk cId="1301972457" sldId="1511"/>
            <ac:picMk id="26" creationId="{3D1B43A8-86D1-48DD-A911-EC29AB1F9948}"/>
          </ac:picMkLst>
        </pc:picChg>
        <pc:cxnChg chg="add mod">
          <ac:chgData name="Bantei Sangma [Chillibreeze]" userId="e7070ce9-26a8-4d3a-99f4-f2ac4567d4da" providerId="ADAL" clId="{CFF9C8AC-91C6-4F66-919E-79B541F6FF2E}" dt="2020-07-10T11:33:31.952" v="4492" actId="692"/>
          <ac:cxnSpMkLst>
            <pc:docMk/>
            <pc:sldMk cId="1301972457" sldId="1511"/>
            <ac:cxnSpMk id="8" creationId="{66E335E5-AA1C-420A-8BD2-F24A2761F84A}"/>
          </ac:cxnSpMkLst>
        </pc:cxnChg>
        <pc:cxnChg chg="add mod">
          <ac:chgData name="Bantei Sangma [Chillibreeze]" userId="e7070ce9-26a8-4d3a-99f4-f2ac4567d4da" providerId="ADAL" clId="{CFF9C8AC-91C6-4F66-919E-79B541F6FF2E}" dt="2020-07-10T11:33:31.952" v="4492" actId="692"/>
          <ac:cxnSpMkLst>
            <pc:docMk/>
            <pc:sldMk cId="1301972457" sldId="1511"/>
            <ac:cxnSpMk id="17" creationId="{269C22AB-8FDA-4B01-8F9E-06EB0DB6054B}"/>
          </ac:cxnSpMkLst>
        </pc:cxnChg>
        <pc:cxnChg chg="add mod">
          <ac:chgData name="Bantei Sangma [Chillibreeze]" userId="e7070ce9-26a8-4d3a-99f4-f2ac4567d4da" providerId="ADAL" clId="{CFF9C8AC-91C6-4F66-919E-79B541F6FF2E}" dt="2020-07-10T11:33:31.952" v="4492" actId="692"/>
          <ac:cxnSpMkLst>
            <pc:docMk/>
            <pc:sldMk cId="1301972457" sldId="1511"/>
            <ac:cxnSpMk id="18" creationId="{4C6D91F7-F413-4A0A-870D-3AA06F449826}"/>
          </ac:cxnSpMkLst>
        </pc:cxnChg>
        <pc:cxnChg chg="add mod">
          <ac:chgData name="Bantei Sangma [Chillibreeze]" userId="e7070ce9-26a8-4d3a-99f4-f2ac4567d4da" providerId="ADAL" clId="{CFF9C8AC-91C6-4F66-919E-79B541F6FF2E}" dt="2020-07-10T11:33:31.952" v="4492" actId="692"/>
          <ac:cxnSpMkLst>
            <pc:docMk/>
            <pc:sldMk cId="1301972457" sldId="1511"/>
            <ac:cxnSpMk id="19" creationId="{1F520705-DDC4-4C85-99BB-09BD08B837F5}"/>
          </ac:cxnSpMkLst>
        </pc:cxnChg>
      </pc:sldChg>
      <pc:sldChg chg="addSp delSp modSp mod">
        <pc:chgData name="Bantei Sangma [Chillibreeze]" userId="e7070ce9-26a8-4d3a-99f4-f2ac4567d4da" providerId="ADAL" clId="{CFF9C8AC-91C6-4F66-919E-79B541F6FF2E}" dt="2020-07-10T11:30:44.983" v="4483" actId="207"/>
        <pc:sldMkLst>
          <pc:docMk/>
          <pc:sldMk cId="160164597" sldId="1512"/>
        </pc:sldMkLst>
        <pc:spChg chg="mod">
          <ac:chgData name="Bantei Sangma [Chillibreeze]" userId="e7070ce9-26a8-4d3a-99f4-f2ac4567d4da" providerId="ADAL" clId="{CFF9C8AC-91C6-4F66-919E-79B541F6FF2E}" dt="2020-07-10T07:11:40.365" v="1118" actId="552"/>
          <ac:spMkLst>
            <pc:docMk/>
            <pc:sldMk cId="160164597" sldId="1512"/>
            <ac:spMk id="2" creationId="{128E00F7-426C-4FF1-A295-6EEA3032783F}"/>
          </ac:spMkLst>
        </pc:spChg>
        <pc:spChg chg="add del mod">
          <ac:chgData name="Bantei Sangma [Chillibreeze]" userId="e7070ce9-26a8-4d3a-99f4-f2ac4567d4da" providerId="ADAL" clId="{CFF9C8AC-91C6-4F66-919E-79B541F6FF2E}" dt="2020-07-10T07:09:30.270" v="1099" actId="478"/>
          <ac:spMkLst>
            <pc:docMk/>
            <pc:sldMk cId="160164597" sldId="1512"/>
            <ac:spMk id="3" creationId="{FADB1A29-489E-4AC0-BA6D-6F6249F6E843}"/>
          </ac:spMkLst>
        </pc:spChg>
        <pc:spChg chg="add mod">
          <ac:chgData name="Bantei Sangma [Chillibreeze]" userId="e7070ce9-26a8-4d3a-99f4-f2ac4567d4da" providerId="ADAL" clId="{CFF9C8AC-91C6-4F66-919E-79B541F6FF2E}" dt="2020-07-10T11:02:50.642" v="3692" actId="1038"/>
          <ac:spMkLst>
            <pc:docMk/>
            <pc:sldMk cId="160164597" sldId="1512"/>
            <ac:spMk id="6" creationId="{52450C54-815C-4A37-B1E6-5139B4D08D89}"/>
          </ac:spMkLst>
        </pc:spChg>
        <pc:spChg chg="add del mod">
          <ac:chgData name="Bantei Sangma [Chillibreeze]" userId="e7070ce9-26a8-4d3a-99f4-f2ac4567d4da" providerId="ADAL" clId="{CFF9C8AC-91C6-4F66-919E-79B541F6FF2E}" dt="2020-07-10T07:01:37.734" v="1012" actId="478"/>
          <ac:spMkLst>
            <pc:docMk/>
            <pc:sldMk cId="160164597" sldId="1512"/>
            <ac:spMk id="8" creationId="{08E58779-21EE-4467-8DC0-DDB9F851176C}"/>
          </ac:spMkLst>
        </pc:spChg>
        <pc:spChg chg="add del mod">
          <ac:chgData name="Bantei Sangma [Chillibreeze]" userId="e7070ce9-26a8-4d3a-99f4-f2ac4567d4da" providerId="ADAL" clId="{CFF9C8AC-91C6-4F66-919E-79B541F6FF2E}" dt="2020-07-10T07:01:37.734" v="1012" actId="478"/>
          <ac:spMkLst>
            <pc:docMk/>
            <pc:sldMk cId="160164597" sldId="1512"/>
            <ac:spMk id="10" creationId="{62B2A48F-4186-409B-A780-E9482DABA88F}"/>
          </ac:spMkLst>
        </pc:spChg>
        <pc:spChg chg="add del mod">
          <ac:chgData name="Bantei Sangma [Chillibreeze]" userId="e7070ce9-26a8-4d3a-99f4-f2ac4567d4da" providerId="ADAL" clId="{CFF9C8AC-91C6-4F66-919E-79B541F6FF2E}" dt="2020-07-10T07:06:01.450" v="1044" actId="478"/>
          <ac:spMkLst>
            <pc:docMk/>
            <pc:sldMk cId="160164597" sldId="1512"/>
            <ac:spMk id="13" creationId="{552714A1-8CA7-4FBB-ADC4-D43A22BD1798}"/>
          </ac:spMkLst>
        </pc:spChg>
        <pc:spChg chg="add mod">
          <ac:chgData name="Bantei Sangma [Chillibreeze]" userId="e7070ce9-26a8-4d3a-99f4-f2ac4567d4da" providerId="ADAL" clId="{CFF9C8AC-91C6-4F66-919E-79B541F6FF2E}" dt="2020-07-10T11:30:44.983" v="4483" actId="207"/>
          <ac:spMkLst>
            <pc:docMk/>
            <pc:sldMk cId="160164597" sldId="1512"/>
            <ac:spMk id="14" creationId="{97BB312B-968E-4483-9CBF-AAA40E366DB0}"/>
          </ac:spMkLst>
        </pc:spChg>
        <pc:spChg chg="add mod">
          <ac:chgData name="Bantei Sangma [Chillibreeze]" userId="e7070ce9-26a8-4d3a-99f4-f2ac4567d4da" providerId="ADAL" clId="{CFF9C8AC-91C6-4F66-919E-79B541F6FF2E}" dt="2020-07-10T11:30:44.983" v="4483" actId="207"/>
          <ac:spMkLst>
            <pc:docMk/>
            <pc:sldMk cId="160164597" sldId="1512"/>
            <ac:spMk id="15" creationId="{951084C3-F9EF-4285-84A5-AF51C332C8F7}"/>
          </ac:spMkLst>
        </pc:spChg>
        <pc:spChg chg="add mod">
          <ac:chgData name="Bantei Sangma [Chillibreeze]" userId="e7070ce9-26a8-4d3a-99f4-f2ac4567d4da" providerId="ADAL" clId="{CFF9C8AC-91C6-4F66-919E-79B541F6FF2E}" dt="2020-07-10T10:47:15.109" v="3547" actId="14100"/>
          <ac:spMkLst>
            <pc:docMk/>
            <pc:sldMk cId="160164597" sldId="1512"/>
            <ac:spMk id="16" creationId="{9D3FC70F-ED14-4C31-AFA9-BB0CA44C37BC}"/>
          </ac:spMkLst>
        </pc:spChg>
        <pc:spChg chg="add del mod">
          <ac:chgData name="Bantei Sangma [Chillibreeze]" userId="e7070ce9-26a8-4d3a-99f4-f2ac4567d4da" providerId="ADAL" clId="{CFF9C8AC-91C6-4F66-919E-79B541F6FF2E}" dt="2020-07-10T11:20:21.664" v="4425" actId="478"/>
          <ac:spMkLst>
            <pc:docMk/>
            <pc:sldMk cId="160164597" sldId="1512"/>
            <ac:spMk id="31" creationId="{4E1FB311-0413-423A-9883-BD8C90408DC9}"/>
          </ac:spMkLst>
        </pc:spChg>
        <pc:spChg chg="add del mod">
          <ac:chgData name="Bantei Sangma [Chillibreeze]" userId="e7070ce9-26a8-4d3a-99f4-f2ac4567d4da" providerId="ADAL" clId="{CFF9C8AC-91C6-4F66-919E-79B541F6FF2E}" dt="2020-07-10T11:20:22.407" v="4426" actId="478"/>
          <ac:spMkLst>
            <pc:docMk/>
            <pc:sldMk cId="160164597" sldId="1512"/>
            <ac:spMk id="32" creationId="{B47EAEAF-159B-41DA-BD0A-391AB5DD7BB8}"/>
          </ac:spMkLst>
        </pc:spChg>
        <pc:spChg chg="add del mod">
          <ac:chgData name="Bantei Sangma [Chillibreeze]" userId="e7070ce9-26a8-4d3a-99f4-f2ac4567d4da" providerId="ADAL" clId="{CFF9C8AC-91C6-4F66-919E-79B541F6FF2E}" dt="2020-07-10T11:24:55.697" v="4472" actId="21"/>
          <ac:spMkLst>
            <pc:docMk/>
            <pc:sldMk cId="160164597" sldId="1512"/>
            <ac:spMk id="33" creationId="{07A52004-8C56-4AE7-B3F5-B3730CEAD469}"/>
          </ac:spMkLst>
        </pc:spChg>
        <pc:picChg chg="add mod">
          <ac:chgData name="Bantei Sangma [Chillibreeze]" userId="e7070ce9-26a8-4d3a-99f4-f2ac4567d4da" providerId="ADAL" clId="{CFF9C8AC-91C6-4F66-919E-79B541F6FF2E}" dt="2020-07-10T07:10:47.274" v="1112" actId="1076"/>
          <ac:picMkLst>
            <pc:docMk/>
            <pc:sldMk cId="160164597" sldId="1512"/>
            <ac:picMk id="4" creationId="{0F76E945-5A01-4D51-B341-0BF35DA752D2}"/>
          </ac:picMkLst>
        </pc:picChg>
        <pc:picChg chg="add mod">
          <ac:chgData name="Bantei Sangma [Chillibreeze]" userId="e7070ce9-26a8-4d3a-99f4-f2ac4567d4da" providerId="ADAL" clId="{CFF9C8AC-91C6-4F66-919E-79B541F6FF2E}" dt="2020-07-10T11:02:50.642" v="3692" actId="1038"/>
          <ac:picMkLst>
            <pc:docMk/>
            <pc:sldMk cId="160164597" sldId="1512"/>
            <ac:picMk id="5" creationId="{4B80B36B-8256-4EC6-ABA3-A9E6A1A5252C}"/>
          </ac:picMkLst>
        </pc:picChg>
        <pc:picChg chg="add del mod">
          <ac:chgData name="Bantei Sangma [Chillibreeze]" userId="e7070ce9-26a8-4d3a-99f4-f2ac4567d4da" providerId="ADAL" clId="{CFF9C8AC-91C6-4F66-919E-79B541F6FF2E}" dt="2020-07-10T07:01:37.734" v="1012" actId="478"/>
          <ac:picMkLst>
            <pc:docMk/>
            <pc:sldMk cId="160164597" sldId="1512"/>
            <ac:picMk id="7" creationId="{73FC6BBF-8767-4983-86F1-1B1435FD29D4}"/>
          </ac:picMkLst>
        </pc:picChg>
        <pc:picChg chg="add del mod">
          <ac:chgData name="Bantei Sangma [Chillibreeze]" userId="e7070ce9-26a8-4d3a-99f4-f2ac4567d4da" providerId="ADAL" clId="{CFF9C8AC-91C6-4F66-919E-79B541F6FF2E}" dt="2020-07-10T07:01:37.734" v="1012" actId="478"/>
          <ac:picMkLst>
            <pc:docMk/>
            <pc:sldMk cId="160164597" sldId="1512"/>
            <ac:picMk id="9" creationId="{82F81C2E-864E-4769-9196-C17F9AF28520}"/>
          </ac:picMkLst>
        </pc:picChg>
        <pc:cxnChg chg="add del mod">
          <ac:chgData name="Bantei Sangma [Chillibreeze]" userId="e7070ce9-26a8-4d3a-99f4-f2ac4567d4da" providerId="ADAL" clId="{CFF9C8AC-91C6-4F66-919E-79B541F6FF2E}" dt="2020-07-10T07:01:37.734" v="1012" actId="478"/>
          <ac:cxnSpMkLst>
            <pc:docMk/>
            <pc:sldMk cId="160164597" sldId="1512"/>
            <ac:cxnSpMk id="11" creationId="{D9B651F9-A559-401F-931B-38AFD2194E93}"/>
          </ac:cxnSpMkLst>
        </pc:cxnChg>
        <pc:cxnChg chg="add mod">
          <ac:chgData name="Bantei Sangma [Chillibreeze]" userId="e7070ce9-26a8-4d3a-99f4-f2ac4567d4da" providerId="ADAL" clId="{CFF9C8AC-91C6-4F66-919E-79B541F6FF2E}" dt="2020-07-10T10:44:34.917" v="3543" actId="14100"/>
          <ac:cxnSpMkLst>
            <pc:docMk/>
            <pc:sldMk cId="160164597" sldId="1512"/>
            <ac:cxnSpMk id="18" creationId="{4DB5874D-6713-4983-A102-40D5D2BA2D2A}"/>
          </ac:cxnSpMkLst>
        </pc:cxnChg>
        <pc:cxnChg chg="add mod">
          <ac:chgData name="Bantei Sangma [Chillibreeze]" userId="e7070ce9-26a8-4d3a-99f4-f2ac4567d4da" providerId="ADAL" clId="{CFF9C8AC-91C6-4F66-919E-79B541F6FF2E}" dt="2020-07-10T10:48:01.037" v="3575" actId="14100"/>
          <ac:cxnSpMkLst>
            <pc:docMk/>
            <pc:sldMk cId="160164597" sldId="1512"/>
            <ac:cxnSpMk id="19" creationId="{3A6ED00F-8042-43A6-8BC6-39FFED520415}"/>
          </ac:cxnSpMkLst>
        </pc:cxnChg>
      </pc:sldChg>
      <pc:sldChg chg="del">
        <pc:chgData name="Bantei Sangma [Chillibreeze]" userId="e7070ce9-26a8-4d3a-99f4-f2ac4567d4da" providerId="ADAL" clId="{CFF9C8AC-91C6-4F66-919E-79B541F6FF2E}" dt="2020-07-10T08:38:46.430" v="1927" actId="47"/>
        <pc:sldMkLst>
          <pc:docMk/>
          <pc:sldMk cId="1793706927" sldId="1670"/>
        </pc:sldMkLst>
      </pc:sldChg>
      <pc:sldChg chg="del">
        <pc:chgData name="Bantei Sangma [Chillibreeze]" userId="e7070ce9-26a8-4d3a-99f4-f2ac4567d4da" providerId="ADAL" clId="{CFF9C8AC-91C6-4F66-919E-79B541F6FF2E}" dt="2020-07-10T08:38:46.430" v="1927" actId="47"/>
        <pc:sldMkLst>
          <pc:docMk/>
          <pc:sldMk cId="3635852913" sldId="1719"/>
        </pc:sldMkLst>
      </pc:sldChg>
      <pc:sldChg chg="addSp delSp modSp mod">
        <pc:chgData name="Bantei Sangma [Chillibreeze]" userId="e7070ce9-26a8-4d3a-99f4-f2ac4567d4da" providerId="ADAL" clId="{CFF9C8AC-91C6-4F66-919E-79B541F6FF2E}" dt="2020-07-10T11:33:10.504" v="4490" actId="108"/>
        <pc:sldMkLst>
          <pc:docMk/>
          <pc:sldMk cId="316322398" sldId="1870"/>
        </pc:sldMkLst>
        <pc:spChg chg="mod">
          <ac:chgData name="Bantei Sangma [Chillibreeze]" userId="e7070ce9-26a8-4d3a-99f4-f2ac4567d4da" providerId="ADAL" clId="{CFF9C8AC-91C6-4F66-919E-79B541F6FF2E}" dt="2020-07-10T07:31:00.909" v="1436" actId="552"/>
          <ac:spMkLst>
            <pc:docMk/>
            <pc:sldMk cId="316322398" sldId="1870"/>
            <ac:spMk id="2" creationId="{5F359BF1-DFBD-478C-ACA3-333D99FCFEDF}"/>
          </ac:spMkLst>
        </pc:spChg>
        <pc:spChg chg="add del mod">
          <ac:chgData name="Bantei Sangma [Chillibreeze]" userId="e7070ce9-26a8-4d3a-99f4-f2ac4567d4da" providerId="ADAL" clId="{CFF9C8AC-91C6-4F66-919E-79B541F6FF2E}" dt="2020-07-10T07:27:55.310" v="1375" actId="478"/>
          <ac:spMkLst>
            <pc:docMk/>
            <pc:sldMk cId="316322398" sldId="1870"/>
            <ac:spMk id="3" creationId="{DEB48338-E5CC-45CA-9BD7-BA80421BF7CF}"/>
          </ac:spMkLst>
        </pc:spChg>
        <pc:spChg chg="add mod topLvl">
          <ac:chgData name="Bantei Sangma [Chillibreeze]" userId="e7070ce9-26a8-4d3a-99f4-f2ac4567d4da" providerId="ADAL" clId="{CFF9C8AC-91C6-4F66-919E-79B541F6FF2E}" dt="2020-07-10T10:24:06.073" v="3507" actId="165"/>
          <ac:spMkLst>
            <pc:docMk/>
            <pc:sldMk cId="316322398" sldId="1870"/>
            <ac:spMk id="8" creationId="{FEF55901-E7BA-48EE-8BC0-03806F181D77}"/>
          </ac:spMkLst>
        </pc:spChg>
        <pc:spChg chg="add mod topLvl">
          <ac:chgData name="Bantei Sangma [Chillibreeze]" userId="e7070ce9-26a8-4d3a-99f4-f2ac4567d4da" providerId="ADAL" clId="{CFF9C8AC-91C6-4F66-919E-79B541F6FF2E}" dt="2020-07-10T10:24:10.893" v="3508" actId="165"/>
          <ac:spMkLst>
            <pc:docMk/>
            <pc:sldMk cId="316322398" sldId="1870"/>
            <ac:spMk id="10" creationId="{F89B5440-AF9A-4D0F-A1B6-976BA51B2279}"/>
          </ac:spMkLst>
        </pc:spChg>
        <pc:spChg chg="add mod topLvl">
          <ac:chgData name="Bantei Sangma [Chillibreeze]" userId="e7070ce9-26a8-4d3a-99f4-f2ac4567d4da" providerId="ADAL" clId="{CFF9C8AC-91C6-4F66-919E-79B541F6FF2E}" dt="2020-07-10T10:24:06.073" v="3507" actId="165"/>
          <ac:spMkLst>
            <pc:docMk/>
            <pc:sldMk cId="316322398" sldId="1870"/>
            <ac:spMk id="12" creationId="{D5409F01-1B08-414F-9928-31BE4B3E29DE}"/>
          </ac:spMkLst>
        </pc:spChg>
        <pc:spChg chg="add mod topLvl">
          <ac:chgData name="Bantei Sangma [Chillibreeze]" userId="e7070ce9-26a8-4d3a-99f4-f2ac4567d4da" providerId="ADAL" clId="{CFF9C8AC-91C6-4F66-919E-79B541F6FF2E}" dt="2020-07-10T10:24:23.415" v="3509" actId="165"/>
          <ac:spMkLst>
            <pc:docMk/>
            <pc:sldMk cId="316322398" sldId="1870"/>
            <ac:spMk id="14" creationId="{945A46B6-C7CF-4453-BAAE-03794F485BF4}"/>
          </ac:spMkLst>
        </pc:spChg>
        <pc:spChg chg="add mod topLvl">
          <ac:chgData name="Bantei Sangma [Chillibreeze]" userId="e7070ce9-26a8-4d3a-99f4-f2ac4567d4da" providerId="ADAL" clId="{CFF9C8AC-91C6-4F66-919E-79B541F6FF2E}" dt="2020-07-10T10:24:23.415" v="3509" actId="165"/>
          <ac:spMkLst>
            <pc:docMk/>
            <pc:sldMk cId="316322398" sldId="1870"/>
            <ac:spMk id="16" creationId="{8A77DD0C-59C7-4C0F-9BC5-8FAC7F7EECA7}"/>
          </ac:spMkLst>
        </pc:spChg>
        <pc:spChg chg="add mod topLvl">
          <ac:chgData name="Bantei Sangma [Chillibreeze]" userId="e7070ce9-26a8-4d3a-99f4-f2ac4567d4da" providerId="ADAL" clId="{CFF9C8AC-91C6-4F66-919E-79B541F6FF2E}" dt="2020-07-10T10:24:06.073" v="3507" actId="165"/>
          <ac:spMkLst>
            <pc:docMk/>
            <pc:sldMk cId="316322398" sldId="1870"/>
            <ac:spMk id="18" creationId="{D2DF32ED-F30C-4A47-90A3-B19FD83B76CD}"/>
          </ac:spMkLst>
        </pc:spChg>
        <pc:spChg chg="add mod topLvl">
          <ac:chgData name="Bantei Sangma [Chillibreeze]" userId="e7070ce9-26a8-4d3a-99f4-f2ac4567d4da" providerId="ADAL" clId="{CFF9C8AC-91C6-4F66-919E-79B541F6FF2E}" dt="2020-07-10T10:24:06.073" v="3507" actId="165"/>
          <ac:spMkLst>
            <pc:docMk/>
            <pc:sldMk cId="316322398" sldId="1870"/>
            <ac:spMk id="19" creationId="{4AFB65EE-26A2-4AEF-8BEF-754BC3533E29}"/>
          </ac:spMkLst>
        </pc:spChg>
        <pc:spChg chg="add mod">
          <ac:chgData name="Bantei Sangma [Chillibreeze]" userId="e7070ce9-26a8-4d3a-99f4-f2ac4567d4da" providerId="ADAL" clId="{CFF9C8AC-91C6-4F66-919E-79B541F6FF2E}" dt="2020-07-10T07:31:04.454" v="1438" actId="571"/>
          <ac:spMkLst>
            <pc:docMk/>
            <pc:sldMk cId="316322398" sldId="1870"/>
            <ac:spMk id="21" creationId="{71589DCE-F69E-4B4B-B695-64248EA8E91B}"/>
          </ac:spMkLst>
        </pc:spChg>
        <pc:spChg chg="mod topLvl">
          <ac:chgData name="Bantei Sangma [Chillibreeze]" userId="e7070ce9-26a8-4d3a-99f4-f2ac4567d4da" providerId="ADAL" clId="{CFF9C8AC-91C6-4F66-919E-79B541F6FF2E}" dt="2020-07-10T10:24:06.073" v="3507" actId="165"/>
          <ac:spMkLst>
            <pc:docMk/>
            <pc:sldMk cId="316322398" sldId="1870"/>
            <ac:spMk id="21" creationId="{F49F6868-05F1-4EE4-A1A2-F0A08C944653}"/>
          </ac:spMkLst>
        </pc:spChg>
        <pc:spChg chg="mod topLvl">
          <ac:chgData name="Bantei Sangma [Chillibreeze]" userId="e7070ce9-26a8-4d3a-99f4-f2ac4567d4da" providerId="ADAL" clId="{CFF9C8AC-91C6-4F66-919E-79B541F6FF2E}" dt="2020-07-10T10:24:23.415" v="3509" actId="165"/>
          <ac:spMkLst>
            <pc:docMk/>
            <pc:sldMk cId="316322398" sldId="1870"/>
            <ac:spMk id="22" creationId="{D1862062-183F-4FD5-B71D-DB7202ABE5E4}"/>
          </ac:spMkLst>
        </pc:spChg>
        <pc:spChg chg="mod">
          <ac:chgData name="Bantei Sangma [Chillibreeze]" userId="e7070ce9-26a8-4d3a-99f4-f2ac4567d4da" providerId="ADAL" clId="{CFF9C8AC-91C6-4F66-919E-79B541F6FF2E}" dt="2020-07-10T07:31:04.454" v="1438" actId="571"/>
          <ac:spMkLst>
            <pc:docMk/>
            <pc:sldMk cId="316322398" sldId="1870"/>
            <ac:spMk id="23" creationId="{85585BAD-0919-48DE-9CE8-2FE9E73A6276}"/>
          </ac:spMkLst>
        </pc:spChg>
        <pc:spChg chg="mod">
          <ac:chgData name="Bantei Sangma [Chillibreeze]" userId="e7070ce9-26a8-4d3a-99f4-f2ac4567d4da" providerId="ADAL" clId="{CFF9C8AC-91C6-4F66-919E-79B541F6FF2E}" dt="2020-07-10T07:31:04.454" v="1438" actId="571"/>
          <ac:spMkLst>
            <pc:docMk/>
            <pc:sldMk cId="316322398" sldId="1870"/>
            <ac:spMk id="24" creationId="{D575FC51-A7BD-42DD-93AC-D9440A65EBA4}"/>
          </ac:spMkLst>
        </pc:spChg>
        <pc:spChg chg="mod topLvl">
          <ac:chgData name="Bantei Sangma [Chillibreeze]" userId="e7070ce9-26a8-4d3a-99f4-f2ac4567d4da" providerId="ADAL" clId="{CFF9C8AC-91C6-4F66-919E-79B541F6FF2E}" dt="2020-07-10T10:24:06.073" v="3507" actId="165"/>
          <ac:spMkLst>
            <pc:docMk/>
            <pc:sldMk cId="316322398" sldId="1870"/>
            <ac:spMk id="26" creationId="{423C33BE-9D6A-4AE9-BAFD-7E4CED6842EB}"/>
          </ac:spMkLst>
        </pc:spChg>
        <pc:spChg chg="mod topLvl">
          <ac:chgData name="Bantei Sangma [Chillibreeze]" userId="e7070ce9-26a8-4d3a-99f4-f2ac4567d4da" providerId="ADAL" clId="{CFF9C8AC-91C6-4F66-919E-79B541F6FF2E}" dt="2020-07-10T10:24:10.893" v="3508" actId="165"/>
          <ac:spMkLst>
            <pc:docMk/>
            <pc:sldMk cId="316322398" sldId="1870"/>
            <ac:spMk id="27" creationId="{91028A9E-5608-4B8B-A4D8-702F002D710E}"/>
          </ac:spMkLst>
        </pc:spChg>
        <pc:spChg chg="mod topLvl">
          <ac:chgData name="Bantei Sangma [Chillibreeze]" userId="e7070ce9-26a8-4d3a-99f4-f2ac4567d4da" providerId="ADAL" clId="{CFF9C8AC-91C6-4F66-919E-79B541F6FF2E}" dt="2020-07-10T10:24:06.073" v="3507" actId="165"/>
          <ac:spMkLst>
            <pc:docMk/>
            <pc:sldMk cId="316322398" sldId="1870"/>
            <ac:spMk id="29" creationId="{44E1FE4F-44A2-4427-8FF0-3DE8CEBF09EF}"/>
          </ac:spMkLst>
        </pc:spChg>
        <pc:spChg chg="mod topLvl">
          <ac:chgData name="Bantei Sangma [Chillibreeze]" userId="e7070ce9-26a8-4d3a-99f4-f2ac4567d4da" providerId="ADAL" clId="{CFF9C8AC-91C6-4F66-919E-79B541F6FF2E}" dt="2020-07-10T10:24:06.073" v="3507" actId="165"/>
          <ac:spMkLst>
            <pc:docMk/>
            <pc:sldMk cId="316322398" sldId="1870"/>
            <ac:spMk id="30" creationId="{D5ADAAFA-F982-467E-8ADF-FBA5F17A153A}"/>
          </ac:spMkLst>
        </pc:spChg>
        <pc:spChg chg="mod topLvl">
          <ac:chgData name="Bantei Sangma [Chillibreeze]" userId="e7070ce9-26a8-4d3a-99f4-f2ac4567d4da" providerId="ADAL" clId="{CFF9C8AC-91C6-4F66-919E-79B541F6FF2E}" dt="2020-07-10T10:24:06.073" v="3507" actId="165"/>
          <ac:spMkLst>
            <pc:docMk/>
            <pc:sldMk cId="316322398" sldId="1870"/>
            <ac:spMk id="32" creationId="{52C9C4CE-73B1-4B8E-9700-4D21C9E221DF}"/>
          </ac:spMkLst>
        </pc:spChg>
        <pc:spChg chg="mod topLvl">
          <ac:chgData name="Bantei Sangma [Chillibreeze]" userId="e7070ce9-26a8-4d3a-99f4-f2ac4567d4da" providerId="ADAL" clId="{CFF9C8AC-91C6-4F66-919E-79B541F6FF2E}" dt="2020-07-10T10:24:23.415" v="3509" actId="165"/>
          <ac:spMkLst>
            <pc:docMk/>
            <pc:sldMk cId="316322398" sldId="1870"/>
            <ac:spMk id="33" creationId="{60723F4D-8D68-4062-9DE7-1A08CF4E178F}"/>
          </ac:spMkLst>
        </pc:spChg>
        <pc:grpChg chg="add del mod">
          <ac:chgData name="Bantei Sangma [Chillibreeze]" userId="e7070ce9-26a8-4d3a-99f4-f2ac4567d4da" providerId="ADAL" clId="{CFF9C8AC-91C6-4F66-919E-79B541F6FF2E}" dt="2020-07-10T07:31:27.989" v="1443" actId="165"/>
          <ac:grpSpMkLst>
            <pc:docMk/>
            <pc:sldMk cId="316322398" sldId="1870"/>
            <ac:grpSpMk id="20" creationId="{27A2AC5E-EF2A-48CC-84DE-68660D8CE74E}"/>
          </ac:grpSpMkLst>
        </pc:grpChg>
        <pc:grpChg chg="add mod">
          <ac:chgData name="Bantei Sangma [Chillibreeze]" userId="e7070ce9-26a8-4d3a-99f4-f2ac4567d4da" providerId="ADAL" clId="{CFF9C8AC-91C6-4F66-919E-79B541F6FF2E}" dt="2020-07-10T07:31:04.454" v="1438" actId="571"/>
          <ac:grpSpMkLst>
            <pc:docMk/>
            <pc:sldMk cId="316322398" sldId="1870"/>
            <ac:grpSpMk id="22" creationId="{E2BD1329-1097-4033-B626-E0A07BC1D413}"/>
          </ac:grpSpMkLst>
        </pc:grpChg>
        <pc:grpChg chg="add del mod">
          <ac:chgData name="Bantei Sangma [Chillibreeze]" userId="e7070ce9-26a8-4d3a-99f4-f2ac4567d4da" providerId="ADAL" clId="{CFF9C8AC-91C6-4F66-919E-79B541F6FF2E}" dt="2020-07-10T07:31:27.989" v="1443" actId="165"/>
          <ac:grpSpMkLst>
            <pc:docMk/>
            <pc:sldMk cId="316322398" sldId="1870"/>
            <ac:grpSpMk id="25" creationId="{52D3A255-9579-4D59-9816-04D4BBB3091F}"/>
          </ac:grpSpMkLst>
        </pc:grpChg>
        <pc:grpChg chg="add del mod">
          <ac:chgData name="Bantei Sangma [Chillibreeze]" userId="e7070ce9-26a8-4d3a-99f4-f2ac4567d4da" providerId="ADAL" clId="{CFF9C8AC-91C6-4F66-919E-79B541F6FF2E}" dt="2020-07-10T07:31:27.989" v="1443" actId="165"/>
          <ac:grpSpMkLst>
            <pc:docMk/>
            <pc:sldMk cId="316322398" sldId="1870"/>
            <ac:grpSpMk id="28" creationId="{9F90EF73-8FC1-409E-AD7D-55D2FB83EADE}"/>
          </ac:grpSpMkLst>
        </pc:grpChg>
        <pc:grpChg chg="add del mod">
          <ac:chgData name="Bantei Sangma [Chillibreeze]" userId="e7070ce9-26a8-4d3a-99f4-f2ac4567d4da" providerId="ADAL" clId="{CFF9C8AC-91C6-4F66-919E-79B541F6FF2E}" dt="2020-07-10T07:31:27.989" v="1443" actId="165"/>
          <ac:grpSpMkLst>
            <pc:docMk/>
            <pc:sldMk cId="316322398" sldId="1870"/>
            <ac:grpSpMk id="31" creationId="{1809E272-6478-4313-BC63-AF5F5F277403}"/>
          </ac:grpSpMkLst>
        </pc:grpChg>
        <pc:grpChg chg="add del mod">
          <ac:chgData name="Bantei Sangma [Chillibreeze]" userId="e7070ce9-26a8-4d3a-99f4-f2ac4567d4da" providerId="ADAL" clId="{CFF9C8AC-91C6-4F66-919E-79B541F6FF2E}" dt="2020-07-10T07:31:27.989" v="1443" actId="165"/>
          <ac:grpSpMkLst>
            <pc:docMk/>
            <pc:sldMk cId="316322398" sldId="1870"/>
            <ac:grpSpMk id="34" creationId="{767F3F54-C682-4FF4-91BE-22D4B4F9A277}"/>
          </ac:grpSpMkLst>
        </pc:grpChg>
        <pc:grpChg chg="add del mod topLvl">
          <ac:chgData name="Bantei Sangma [Chillibreeze]" userId="e7070ce9-26a8-4d3a-99f4-f2ac4567d4da" providerId="ADAL" clId="{CFF9C8AC-91C6-4F66-919E-79B541F6FF2E}" dt="2020-07-10T10:24:23.415" v="3509" actId="165"/>
          <ac:grpSpMkLst>
            <pc:docMk/>
            <pc:sldMk cId="316322398" sldId="1870"/>
            <ac:grpSpMk id="37" creationId="{670CE984-45BD-4239-A563-F78EA69FB090}"/>
          </ac:grpSpMkLst>
        </pc:grpChg>
        <pc:grpChg chg="add del mod topLvl">
          <ac:chgData name="Bantei Sangma [Chillibreeze]" userId="e7070ce9-26a8-4d3a-99f4-f2ac4567d4da" providerId="ADAL" clId="{CFF9C8AC-91C6-4F66-919E-79B541F6FF2E}" dt="2020-07-10T10:24:23.415" v="3509" actId="165"/>
          <ac:grpSpMkLst>
            <pc:docMk/>
            <pc:sldMk cId="316322398" sldId="1870"/>
            <ac:grpSpMk id="38" creationId="{BCC0862B-F448-4D11-A4FF-3BF64C986160}"/>
          </ac:grpSpMkLst>
        </pc:grpChg>
        <pc:grpChg chg="add del mod">
          <ac:chgData name="Bantei Sangma [Chillibreeze]" userId="e7070ce9-26a8-4d3a-99f4-f2ac4567d4da" providerId="ADAL" clId="{CFF9C8AC-91C6-4F66-919E-79B541F6FF2E}" dt="2020-07-10T07:33:44.299" v="1849" actId="165"/>
          <ac:grpSpMkLst>
            <pc:docMk/>
            <pc:sldMk cId="316322398" sldId="1870"/>
            <ac:grpSpMk id="39" creationId="{4E13A9B6-D317-4E80-8411-07E826B514B9}"/>
          </ac:grpSpMkLst>
        </pc:grpChg>
        <pc:grpChg chg="add del mod topLvl">
          <ac:chgData name="Bantei Sangma [Chillibreeze]" userId="e7070ce9-26a8-4d3a-99f4-f2ac4567d4da" providerId="ADAL" clId="{CFF9C8AC-91C6-4F66-919E-79B541F6FF2E}" dt="2020-07-10T10:24:10.893" v="3508" actId="165"/>
          <ac:grpSpMkLst>
            <pc:docMk/>
            <pc:sldMk cId="316322398" sldId="1870"/>
            <ac:grpSpMk id="40" creationId="{DA66C439-6EE8-41C7-A5B0-54460D883AA7}"/>
          </ac:grpSpMkLst>
        </pc:grpChg>
        <pc:grpChg chg="add del mod">
          <ac:chgData name="Bantei Sangma [Chillibreeze]" userId="e7070ce9-26a8-4d3a-99f4-f2ac4567d4da" providerId="ADAL" clId="{CFF9C8AC-91C6-4F66-919E-79B541F6FF2E}" dt="2020-07-10T07:33:17.044" v="1843" actId="165"/>
          <ac:grpSpMkLst>
            <pc:docMk/>
            <pc:sldMk cId="316322398" sldId="1870"/>
            <ac:grpSpMk id="41" creationId="{F4D8653D-5011-4702-93E1-4B92022C6BBA}"/>
          </ac:grpSpMkLst>
        </pc:grpChg>
        <pc:grpChg chg="add mod topLvl">
          <ac:chgData name="Bantei Sangma [Chillibreeze]" userId="e7070ce9-26a8-4d3a-99f4-f2ac4567d4da" providerId="ADAL" clId="{CFF9C8AC-91C6-4F66-919E-79B541F6FF2E}" dt="2020-07-10T10:24:06.073" v="3507" actId="165"/>
          <ac:grpSpMkLst>
            <pc:docMk/>
            <pc:sldMk cId="316322398" sldId="1870"/>
            <ac:grpSpMk id="42" creationId="{5849D5A9-AF1F-4B53-8775-35BB6E5FE632}"/>
          </ac:grpSpMkLst>
        </pc:grpChg>
        <pc:grpChg chg="add del mod">
          <ac:chgData name="Bantei Sangma [Chillibreeze]" userId="e7070ce9-26a8-4d3a-99f4-f2ac4567d4da" providerId="ADAL" clId="{CFF9C8AC-91C6-4F66-919E-79B541F6FF2E}" dt="2020-07-10T10:24:06.073" v="3507" actId="165"/>
          <ac:grpSpMkLst>
            <pc:docMk/>
            <pc:sldMk cId="316322398" sldId="1870"/>
            <ac:grpSpMk id="43" creationId="{224E02C1-4090-42FB-B9E4-DE21A89631B1}"/>
          </ac:grpSpMkLst>
        </pc:grpChg>
        <pc:grpChg chg="add mod">
          <ac:chgData name="Bantei Sangma [Chillibreeze]" userId="e7070ce9-26a8-4d3a-99f4-f2ac4567d4da" providerId="ADAL" clId="{CFF9C8AC-91C6-4F66-919E-79B541F6FF2E}" dt="2020-07-10T07:33:32.546" v="1847" actId="164"/>
          <ac:grpSpMkLst>
            <pc:docMk/>
            <pc:sldMk cId="316322398" sldId="1870"/>
            <ac:grpSpMk id="44" creationId="{CC0AD1DA-3918-4851-94A9-E127D692EC6B}"/>
          </ac:grpSpMkLst>
        </pc:grpChg>
        <pc:grpChg chg="add del mod">
          <ac:chgData name="Bantei Sangma [Chillibreeze]" userId="e7070ce9-26a8-4d3a-99f4-f2ac4567d4da" providerId="ADAL" clId="{CFF9C8AC-91C6-4F66-919E-79B541F6FF2E}" dt="2020-07-10T10:24:06.073" v="3507" actId="165"/>
          <ac:grpSpMkLst>
            <pc:docMk/>
            <pc:sldMk cId="316322398" sldId="1870"/>
            <ac:grpSpMk id="45" creationId="{DA4DC541-9AD1-4536-BEC0-48A5A7531EC3}"/>
          </ac:grpSpMkLst>
        </pc:grpChg>
        <pc:grpChg chg="add del mod">
          <ac:chgData name="Bantei Sangma [Chillibreeze]" userId="e7070ce9-26a8-4d3a-99f4-f2ac4567d4da" providerId="ADAL" clId="{CFF9C8AC-91C6-4F66-919E-79B541F6FF2E}" dt="2020-07-10T10:24:06.073" v="3507" actId="165"/>
          <ac:grpSpMkLst>
            <pc:docMk/>
            <pc:sldMk cId="316322398" sldId="1870"/>
            <ac:grpSpMk id="46" creationId="{7DBAA738-9165-44AC-B08A-021F8BF01E0C}"/>
          </ac:grpSpMkLst>
        </pc:grpChg>
        <pc:grpChg chg="add del mod">
          <ac:chgData name="Bantei Sangma [Chillibreeze]" userId="e7070ce9-26a8-4d3a-99f4-f2ac4567d4da" providerId="ADAL" clId="{CFF9C8AC-91C6-4F66-919E-79B541F6FF2E}" dt="2020-07-10T10:24:06.073" v="3507" actId="165"/>
          <ac:grpSpMkLst>
            <pc:docMk/>
            <pc:sldMk cId="316322398" sldId="1870"/>
            <ac:grpSpMk id="47" creationId="{64B537C2-C9E8-49E1-8AC2-A6D433AB7A02}"/>
          </ac:grpSpMkLst>
        </pc:grpChg>
        <pc:grpChg chg="add del mod">
          <ac:chgData name="Bantei Sangma [Chillibreeze]" userId="e7070ce9-26a8-4d3a-99f4-f2ac4567d4da" providerId="ADAL" clId="{CFF9C8AC-91C6-4F66-919E-79B541F6FF2E}" dt="2020-07-10T10:24:06.073" v="3507" actId="165"/>
          <ac:grpSpMkLst>
            <pc:docMk/>
            <pc:sldMk cId="316322398" sldId="1870"/>
            <ac:grpSpMk id="48" creationId="{18BD724D-AE01-4AB9-AB4C-2CD15288F02C}"/>
          </ac:grpSpMkLst>
        </pc:grpChg>
        <pc:picChg chg="add del mod">
          <ac:chgData name="Bantei Sangma [Chillibreeze]" userId="e7070ce9-26a8-4d3a-99f4-f2ac4567d4da" providerId="ADAL" clId="{CFF9C8AC-91C6-4F66-919E-79B541F6FF2E}" dt="2020-07-10T07:30:47.835" v="1431" actId="478"/>
          <ac:picMkLst>
            <pc:docMk/>
            <pc:sldMk cId="316322398" sldId="1870"/>
            <ac:picMk id="9" creationId="{769035C5-DDB7-4430-B10C-2BC7B9197C44}"/>
          </ac:picMkLst>
        </pc:picChg>
        <pc:picChg chg="add del mod">
          <ac:chgData name="Bantei Sangma [Chillibreeze]" userId="e7070ce9-26a8-4d3a-99f4-f2ac4567d4da" providerId="ADAL" clId="{CFF9C8AC-91C6-4F66-919E-79B541F6FF2E}" dt="2020-07-10T07:30:47.835" v="1431" actId="478"/>
          <ac:picMkLst>
            <pc:docMk/>
            <pc:sldMk cId="316322398" sldId="1870"/>
            <ac:picMk id="11" creationId="{4FB7D9DB-5B20-4435-B90A-135394A380D3}"/>
          </ac:picMkLst>
        </pc:picChg>
        <pc:picChg chg="add del mod">
          <ac:chgData name="Bantei Sangma [Chillibreeze]" userId="e7070ce9-26a8-4d3a-99f4-f2ac4567d4da" providerId="ADAL" clId="{CFF9C8AC-91C6-4F66-919E-79B541F6FF2E}" dt="2020-07-10T07:30:47.835" v="1431" actId="478"/>
          <ac:picMkLst>
            <pc:docMk/>
            <pc:sldMk cId="316322398" sldId="1870"/>
            <ac:picMk id="13" creationId="{50FE0824-3C83-4B93-B61F-7CABFB217149}"/>
          </ac:picMkLst>
        </pc:picChg>
        <pc:picChg chg="add del mod">
          <ac:chgData name="Bantei Sangma [Chillibreeze]" userId="e7070ce9-26a8-4d3a-99f4-f2ac4567d4da" providerId="ADAL" clId="{CFF9C8AC-91C6-4F66-919E-79B541F6FF2E}" dt="2020-07-10T07:30:47.835" v="1431" actId="478"/>
          <ac:picMkLst>
            <pc:docMk/>
            <pc:sldMk cId="316322398" sldId="1870"/>
            <ac:picMk id="15" creationId="{89A28F54-54E0-4E84-9238-C0216EB1C86E}"/>
          </ac:picMkLst>
        </pc:picChg>
        <pc:picChg chg="add del mod">
          <ac:chgData name="Bantei Sangma [Chillibreeze]" userId="e7070ce9-26a8-4d3a-99f4-f2ac4567d4da" providerId="ADAL" clId="{CFF9C8AC-91C6-4F66-919E-79B541F6FF2E}" dt="2020-07-10T07:30:47.835" v="1431" actId="478"/>
          <ac:picMkLst>
            <pc:docMk/>
            <pc:sldMk cId="316322398" sldId="1870"/>
            <ac:picMk id="17" creationId="{EEA5282F-72E6-401C-BA51-B7F930F1BDBB}"/>
          </ac:picMkLst>
        </pc:picChg>
        <pc:cxnChg chg="add mod">
          <ac:chgData name="Bantei Sangma [Chillibreeze]" userId="e7070ce9-26a8-4d3a-99f4-f2ac4567d4da" providerId="ADAL" clId="{CFF9C8AC-91C6-4F66-919E-79B541F6FF2E}" dt="2020-07-10T11:33:10.504" v="4490" actId="108"/>
          <ac:cxnSpMkLst>
            <pc:docMk/>
            <pc:sldMk cId="316322398" sldId="1870"/>
            <ac:cxnSpMk id="4" creationId="{8596AC18-6995-4948-B61C-D474C096DD56}"/>
          </ac:cxnSpMkLst>
        </pc:cxnChg>
        <pc:cxnChg chg="add mod">
          <ac:chgData name="Bantei Sangma [Chillibreeze]" userId="e7070ce9-26a8-4d3a-99f4-f2ac4567d4da" providerId="ADAL" clId="{CFF9C8AC-91C6-4F66-919E-79B541F6FF2E}" dt="2020-07-10T11:33:09.006" v="4489" actId="108"/>
          <ac:cxnSpMkLst>
            <pc:docMk/>
            <pc:sldMk cId="316322398" sldId="1870"/>
            <ac:cxnSpMk id="5" creationId="{FEAEA9BE-4AE5-4C37-9E2B-833B4F93F1FC}"/>
          </ac:cxnSpMkLst>
        </pc:cxnChg>
        <pc:cxnChg chg="add mod">
          <ac:chgData name="Bantei Sangma [Chillibreeze]" userId="e7070ce9-26a8-4d3a-99f4-f2ac4567d4da" providerId="ADAL" clId="{CFF9C8AC-91C6-4F66-919E-79B541F6FF2E}" dt="2020-07-10T11:33:06.324" v="4488" actId="108"/>
          <ac:cxnSpMkLst>
            <pc:docMk/>
            <pc:sldMk cId="316322398" sldId="1870"/>
            <ac:cxnSpMk id="6" creationId="{8184C42D-7A1E-4A25-A66A-D2EBDC09FFB9}"/>
          </ac:cxnSpMkLst>
        </pc:cxnChg>
        <pc:cxnChg chg="add mod">
          <ac:chgData name="Bantei Sangma [Chillibreeze]" userId="e7070ce9-26a8-4d3a-99f4-f2ac4567d4da" providerId="ADAL" clId="{CFF9C8AC-91C6-4F66-919E-79B541F6FF2E}" dt="2020-07-10T11:32:59.312" v="4487" actId="692"/>
          <ac:cxnSpMkLst>
            <pc:docMk/>
            <pc:sldMk cId="316322398" sldId="1870"/>
            <ac:cxnSpMk id="7" creationId="{150DC724-883C-4D6C-AD63-D8F4E81ACA5C}"/>
          </ac:cxnSpMkLst>
        </pc:cxnChg>
      </pc:sldChg>
      <pc:sldChg chg="addSp delSp modSp mod">
        <pc:chgData name="Bantei Sangma [Chillibreeze]" userId="e7070ce9-26a8-4d3a-99f4-f2ac4567d4da" providerId="ADAL" clId="{CFF9C8AC-91C6-4F66-919E-79B541F6FF2E}" dt="2020-07-10T11:01:14.297" v="3671" actId="692"/>
        <pc:sldMkLst>
          <pc:docMk/>
          <pc:sldMk cId="3665884044" sldId="1871"/>
        </pc:sldMkLst>
        <pc:spChg chg="mod">
          <ac:chgData name="Bantei Sangma [Chillibreeze]" userId="e7070ce9-26a8-4d3a-99f4-f2ac4567d4da" providerId="ADAL" clId="{CFF9C8AC-91C6-4F66-919E-79B541F6FF2E}" dt="2020-07-10T07:30:10.641" v="1410" actId="552"/>
          <ac:spMkLst>
            <pc:docMk/>
            <pc:sldMk cId="3665884044" sldId="1871"/>
            <ac:spMk id="2" creationId="{5F359BF1-DFBD-478C-ACA3-333D99FCFEDF}"/>
          </ac:spMkLst>
        </pc:spChg>
        <pc:spChg chg="add del mod">
          <ac:chgData name="Bantei Sangma [Chillibreeze]" userId="e7070ce9-26a8-4d3a-99f4-f2ac4567d4da" providerId="ADAL" clId="{CFF9C8AC-91C6-4F66-919E-79B541F6FF2E}" dt="2020-07-10T07:19:05.532" v="1232" actId="478"/>
          <ac:spMkLst>
            <pc:docMk/>
            <pc:sldMk cId="3665884044" sldId="1871"/>
            <ac:spMk id="4" creationId="{D7A903C9-44F7-4434-AD7E-99113ABEDCDE}"/>
          </ac:spMkLst>
        </pc:spChg>
        <pc:spChg chg="add del mod">
          <ac:chgData name="Bantei Sangma [Chillibreeze]" userId="e7070ce9-26a8-4d3a-99f4-f2ac4567d4da" providerId="ADAL" clId="{CFF9C8AC-91C6-4F66-919E-79B541F6FF2E}" dt="2020-07-10T07:19:05.532" v="1232" actId="478"/>
          <ac:spMkLst>
            <pc:docMk/>
            <pc:sldMk cId="3665884044" sldId="1871"/>
            <ac:spMk id="6" creationId="{623298E0-A0D1-47F6-A3F9-1989827995E8}"/>
          </ac:spMkLst>
        </pc:spChg>
        <pc:spChg chg="add del mod">
          <ac:chgData name="Bantei Sangma [Chillibreeze]" userId="e7070ce9-26a8-4d3a-99f4-f2ac4567d4da" providerId="ADAL" clId="{CFF9C8AC-91C6-4F66-919E-79B541F6FF2E}" dt="2020-07-10T07:19:05.532" v="1232" actId="478"/>
          <ac:spMkLst>
            <pc:docMk/>
            <pc:sldMk cId="3665884044" sldId="1871"/>
            <ac:spMk id="9" creationId="{9EB461BB-5886-49D4-BCA8-B6CEA49B45A0}"/>
          </ac:spMkLst>
        </pc:spChg>
        <pc:spChg chg="add del mod">
          <ac:chgData name="Bantei Sangma [Chillibreeze]" userId="e7070ce9-26a8-4d3a-99f4-f2ac4567d4da" providerId="ADAL" clId="{CFF9C8AC-91C6-4F66-919E-79B541F6FF2E}" dt="2020-07-10T07:19:05.532" v="1232" actId="478"/>
          <ac:spMkLst>
            <pc:docMk/>
            <pc:sldMk cId="3665884044" sldId="1871"/>
            <ac:spMk id="11" creationId="{BF1CE9B1-E059-4F4B-8087-C92F6C0393C0}"/>
          </ac:spMkLst>
        </pc:spChg>
        <pc:spChg chg="add del mod">
          <ac:chgData name="Bantei Sangma [Chillibreeze]" userId="e7070ce9-26a8-4d3a-99f4-f2ac4567d4da" providerId="ADAL" clId="{CFF9C8AC-91C6-4F66-919E-79B541F6FF2E}" dt="2020-07-10T07:25:08.939" v="1334" actId="478"/>
          <ac:spMkLst>
            <pc:docMk/>
            <pc:sldMk cId="3665884044" sldId="1871"/>
            <ac:spMk id="15" creationId="{0D0ED594-4B62-49A4-BCE2-65E6D675EEE1}"/>
          </ac:spMkLst>
        </pc:spChg>
        <pc:spChg chg="add del mod">
          <ac:chgData name="Bantei Sangma [Chillibreeze]" userId="e7070ce9-26a8-4d3a-99f4-f2ac4567d4da" providerId="ADAL" clId="{CFF9C8AC-91C6-4F66-919E-79B541F6FF2E}" dt="2020-07-10T07:19:05.532" v="1232" actId="478"/>
          <ac:spMkLst>
            <pc:docMk/>
            <pc:sldMk cId="3665884044" sldId="1871"/>
            <ac:spMk id="16" creationId="{E978EB33-0844-49A7-B4AA-3B9268781755}"/>
          </ac:spMkLst>
        </pc:spChg>
        <pc:spChg chg="add del mod">
          <ac:chgData name="Bantei Sangma [Chillibreeze]" userId="e7070ce9-26a8-4d3a-99f4-f2ac4567d4da" providerId="ADAL" clId="{CFF9C8AC-91C6-4F66-919E-79B541F6FF2E}" dt="2020-07-10T07:19:05.532" v="1232" actId="478"/>
          <ac:spMkLst>
            <pc:docMk/>
            <pc:sldMk cId="3665884044" sldId="1871"/>
            <ac:spMk id="17" creationId="{53717F4E-4530-493C-8BEF-D193787A9A05}"/>
          </ac:spMkLst>
        </pc:spChg>
        <pc:spChg chg="add del mod">
          <ac:chgData name="Bantei Sangma [Chillibreeze]" userId="e7070ce9-26a8-4d3a-99f4-f2ac4567d4da" providerId="ADAL" clId="{CFF9C8AC-91C6-4F66-919E-79B541F6FF2E}" dt="2020-07-10T07:19:05.532" v="1232" actId="478"/>
          <ac:spMkLst>
            <pc:docMk/>
            <pc:sldMk cId="3665884044" sldId="1871"/>
            <ac:spMk id="18" creationId="{81F51ABF-B402-4946-B6A7-E1E16BFBBF38}"/>
          </ac:spMkLst>
        </pc:spChg>
        <pc:spChg chg="mod">
          <ac:chgData name="Bantei Sangma [Chillibreeze]" userId="e7070ce9-26a8-4d3a-99f4-f2ac4567d4da" providerId="ADAL" clId="{CFF9C8AC-91C6-4F66-919E-79B541F6FF2E}" dt="2020-07-10T07:19:38.946" v="1240" actId="165"/>
          <ac:spMkLst>
            <pc:docMk/>
            <pc:sldMk cId="3665884044" sldId="1871"/>
            <ac:spMk id="33" creationId="{40D1F4C2-8F46-43F2-BA93-265859C1B17A}"/>
          </ac:spMkLst>
        </pc:spChg>
        <pc:spChg chg="mod">
          <ac:chgData name="Bantei Sangma [Chillibreeze]" userId="e7070ce9-26a8-4d3a-99f4-f2ac4567d4da" providerId="ADAL" clId="{CFF9C8AC-91C6-4F66-919E-79B541F6FF2E}" dt="2020-07-10T07:20:53.803" v="1251" actId="692"/>
          <ac:spMkLst>
            <pc:docMk/>
            <pc:sldMk cId="3665884044" sldId="1871"/>
            <ac:spMk id="34" creationId="{F89EB381-36C1-4245-BB2E-459AB7E6712A}"/>
          </ac:spMkLst>
        </pc:spChg>
        <pc:spChg chg="add mod topLvl">
          <ac:chgData name="Bantei Sangma [Chillibreeze]" userId="e7070ce9-26a8-4d3a-99f4-f2ac4567d4da" providerId="ADAL" clId="{CFF9C8AC-91C6-4F66-919E-79B541F6FF2E}" dt="2020-07-10T07:26:09.168" v="1350" actId="165"/>
          <ac:spMkLst>
            <pc:docMk/>
            <pc:sldMk cId="3665884044" sldId="1871"/>
            <ac:spMk id="35" creationId="{47CA7872-3E02-42E1-BB4A-BAA233B4E4A2}"/>
          </ac:spMkLst>
        </pc:spChg>
        <pc:spChg chg="mod">
          <ac:chgData name="Bantei Sangma [Chillibreeze]" userId="e7070ce9-26a8-4d3a-99f4-f2ac4567d4da" providerId="ADAL" clId="{CFF9C8AC-91C6-4F66-919E-79B541F6FF2E}" dt="2020-07-10T07:19:38.946" v="1240" actId="165"/>
          <ac:spMkLst>
            <pc:docMk/>
            <pc:sldMk cId="3665884044" sldId="1871"/>
            <ac:spMk id="38" creationId="{F0714FB4-9A28-41C6-B188-266A9FAE99A4}"/>
          </ac:spMkLst>
        </pc:spChg>
        <pc:spChg chg="mod">
          <ac:chgData name="Bantei Sangma [Chillibreeze]" userId="e7070ce9-26a8-4d3a-99f4-f2ac4567d4da" providerId="ADAL" clId="{CFF9C8AC-91C6-4F66-919E-79B541F6FF2E}" dt="2020-07-10T07:19:38.946" v="1240" actId="165"/>
          <ac:spMkLst>
            <pc:docMk/>
            <pc:sldMk cId="3665884044" sldId="1871"/>
            <ac:spMk id="39" creationId="{35DFA511-6C0D-40CE-87EF-2B1DA765AA32}"/>
          </ac:spMkLst>
        </pc:spChg>
        <pc:spChg chg="add mod topLvl">
          <ac:chgData name="Bantei Sangma [Chillibreeze]" userId="e7070ce9-26a8-4d3a-99f4-f2ac4567d4da" providerId="ADAL" clId="{CFF9C8AC-91C6-4F66-919E-79B541F6FF2E}" dt="2020-07-10T07:26:09.168" v="1350" actId="165"/>
          <ac:spMkLst>
            <pc:docMk/>
            <pc:sldMk cId="3665884044" sldId="1871"/>
            <ac:spMk id="40" creationId="{33D85280-AB98-4966-B839-92895C2F0F1A}"/>
          </ac:spMkLst>
        </pc:spChg>
        <pc:spChg chg="add mod topLvl">
          <ac:chgData name="Bantei Sangma [Chillibreeze]" userId="e7070ce9-26a8-4d3a-99f4-f2ac4567d4da" providerId="ADAL" clId="{CFF9C8AC-91C6-4F66-919E-79B541F6FF2E}" dt="2020-07-10T07:26:09.168" v="1350" actId="165"/>
          <ac:spMkLst>
            <pc:docMk/>
            <pc:sldMk cId="3665884044" sldId="1871"/>
            <ac:spMk id="42" creationId="{6F5B4E5A-3D02-4D97-B0C5-F934A276D27F}"/>
          </ac:spMkLst>
        </pc:spChg>
        <pc:spChg chg="mod">
          <ac:chgData name="Bantei Sangma [Chillibreeze]" userId="e7070ce9-26a8-4d3a-99f4-f2ac4567d4da" providerId="ADAL" clId="{CFF9C8AC-91C6-4F66-919E-79B541F6FF2E}" dt="2020-07-10T07:19:38.946" v="1240" actId="165"/>
          <ac:spMkLst>
            <pc:docMk/>
            <pc:sldMk cId="3665884044" sldId="1871"/>
            <ac:spMk id="44" creationId="{940408D5-CC09-4895-AE5E-0A5139F4E2E6}"/>
          </ac:spMkLst>
        </pc:spChg>
        <pc:spChg chg="mod">
          <ac:chgData name="Bantei Sangma [Chillibreeze]" userId="e7070ce9-26a8-4d3a-99f4-f2ac4567d4da" providerId="ADAL" clId="{CFF9C8AC-91C6-4F66-919E-79B541F6FF2E}" dt="2020-07-10T07:19:38.946" v="1240" actId="165"/>
          <ac:spMkLst>
            <pc:docMk/>
            <pc:sldMk cId="3665884044" sldId="1871"/>
            <ac:spMk id="45" creationId="{041491F0-4068-4639-BAD5-F464842A0A38}"/>
          </ac:spMkLst>
        </pc:spChg>
        <pc:spChg chg="mod">
          <ac:chgData name="Bantei Sangma [Chillibreeze]" userId="e7070ce9-26a8-4d3a-99f4-f2ac4567d4da" providerId="ADAL" clId="{CFF9C8AC-91C6-4F66-919E-79B541F6FF2E}" dt="2020-07-10T07:19:38.946" v="1240" actId="165"/>
          <ac:spMkLst>
            <pc:docMk/>
            <pc:sldMk cId="3665884044" sldId="1871"/>
            <ac:spMk id="48" creationId="{8FE3DC33-95CB-49B3-8167-6391247A35FC}"/>
          </ac:spMkLst>
        </pc:spChg>
        <pc:spChg chg="mod">
          <ac:chgData name="Bantei Sangma [Chillibreeze]" userId="e7070ce9-26a8-4d3a-99f4-f2ac4567d4da" providerId="ADAL" clId="{CFF9C8AC-91C6-4F66-919E-79B541F6FF2E}" dt="2020-07-10T07:19:38.946" v="1240" actId="165"/>
          <ac:spMkLst>
            <pc:docMk/>
            <pc:sldMk cId="3665884044" sldId="1871"/>
            <ac:spMk id="49" creationId="{E527F784-5EDA-4B02-8A86-26D85BDD6C4E}"/>
          </ac:spMkLst>
        </pc:spChg>
        <pc:spChg chg="add mod topLvl">
          <ac:chgData name="Bantei Sangma [Chillibreeze]" userId="e7070ce9-26a8-4d3a-99f4-f2ac4567d4da" providerId="ADAL" clId="{CFF9C8AC-91C6-4F66-919E-79B541F6FF2E}" dt="2020-07-10T07:26:09.168" v="1350" actId="165"/>
          <ac:spMkLst>
            <pc:docMk/>
            <pc:sldMk cId="3665884044" sldId="1871"/>
            <ac:spMk id="50" creationId="{24701312-AC51-4989-BA55-330ACCF4A5B8}"/>
          </ac:spMkLst>
        </pc:spChg>
        <pc:spChg chg="mod">
          <ac:chgData name="Bantei Sangma [Chillibreeze]" userId="e7070ce9-26a8-4d3a-99f4-f2ac4567d4da" providerId="ADAL" clId="{CFF9C8AC-91C6-4F66-919E-79B541F6FF2E}" dt="2020-07-10T07:19:38.946" v="1240" actId="165"/>
          <ac:spMkLst>
            <pc:docMk/>
            <pc:sldMk cId="3665884044" sldId="1871"/>
            <ac:spMk id="53" creationId="{227C0ECA-D738-4CE7-B0E6-0A148E6A4AF7}"/>
          </ac:spMkLst>
        </pc:spChg>
        <pc:spChg chg="mod">
          <ac:chgData name="Bantei Sangma [Chillibreeze]" userId="e7070ce9-26a8-4d3a-99f4-f2ac4567d4da" providerId="ADAL" clId="{CFF9C8AC-91C6-4F66-919E-79B541F6FF2E}" dt="2020-07-10T07:19:38.946" v="1240" actId="165"/>
          <ac:spMkLst>
            <pc:docMk/>
            <pc:sldMk cId="3665884044" sldId="1871"/>
            <ac:spMk id="54" creationId="{AD2F6F2A-1925-47DB-B7F3-79B53E5223CD}"/>
          </ac:spMkLst>
        </pc:spChg>
        <pc:spChg chg="add mod topLvl">
          <ac:chgData name="Bantei Sangma [Chillibreeze]" userId="e7070ce9-26a8-4d3a-99f4-f2ac4567d4da" providerId="ADAL" clId="{CFF9C8AC-91C6-4F66-919E-79B541F6FF2E}" dt="2020-07-10T07:26:09.168" v="1350" actId="165"/>
          <ac:spMkLst>
            <pc:docMk/>
            <pc:sldMk cId="3665884044" sldId="1871"/>
            <ac:spMk id="55" creationId="{81F9B736-E370-4F54-830D-6508AD80BC2C}"/>
          </ac:spMkLst>
        </pc:spChg>
        <pc:spChg chg="mod">
          <ac:chgData name="Bantei Sangma [Chillibreeze]" userId="e7070ce9-26a8-4d3a-99f4-f2ac4567d4da" providerId="ADAL" clId="{CFF9C8AC-91C6-4F66-919E-79B541F6FF2E}" dt="2020-07-10T07:19:38.946" v="1240" actId="165"/>
          <ac:spMkLst>
            <pc:docMk/>
            <pc:sldMk cId="3665884044" sldId="1871"/>
            <ac:spMk id="58" creationId="{605CCAEF-A650-41E4-9720-E1209BD80260}"/>
          </ac:spMkLst>
        </pc:spChg>
        <pc:spChg chg="mod">
          <ac:chgData name="Bantei Sangma [Chillibreeze]" userId="e7070ce9-26a8-4d3a-99f4-f2ac4567d4da" providerId="ADAL" clId="{CFF9C8AC-91C6-4F66-919E-79B541F6FF2E}" dt="2020-07-10T07:19:38.946" v="1240" actId="165"/>
          <ac:spMkLst>
            <pc:docMk/>
            <pc:sldMk cId="3665884044" sldId="1871"/>
            <ac:spMk id="59" creationId="{A2120049-8EF6-489A-B03A-128CB620DF5B}"/>
          </ac:spMkLst>
        </pc:spChg>
        <pc:spChg chg="add mod topLvl">
          <ac:chgData name="Bantei Sangma [Chillibreeze]" userId="e7070ce9-26a8-4d3a-99f4-f2ac4567d4da" providerId="ADAL" clId="{CFF9C8AC-91C6-4F66-919E-79B541F6FF2E}" dt="2020-07-10T07:26:09.168" v="1350" actId="165"/>
          <ac:spMkLst>
            <pc:docMk/>
            <pc:sldMk cId="3665884044" sldId="1871"/>
            <ac:spMk id="60" creationId="{C0C31B35-B60C-43DB-8AC6-B5BFC7E9FE7E}"/>
          </ac:spMkLst>
        </pc:spChg>
        <pc:spChg chg="add mod">
          <ac:chgData name="Bantei Sangma [Chillibreeze]" userId="e7070ce9-26a8-4d3a-99f4-f2ac4567d4da" providerId="ADAL" clId="{CFF9C8AC-91C6-4F66-919E-79B541F6FF2E}" dt="2020-07-10T07:19:50.548" v="1242" actId="571"/>
          <ac:spMkLst>
            <pc:docMk/>
            <pc:sldMk cId="3665884044" sldId="1871"/>
            <ac:spMk id="68" creationId="{BCA64956-B2C2-4F40-AB4B-E18F5001F5AD}"/>
          </ac:spMkLst>
        </pc:spChg>
        <pc:spChg chg="add mod">
          <ac:chgData name="Bantei Sangma [Chillibreeze]" userId="e7070ce9-26a8-4d3a-99f4-f2ac4567d4da" providerId="ADAL" clId="{CFF9C8AC-91C6-4F66-919E-79B541F6FF2E}" dt="2020-07-10T07:19:50.548" v="1242" actId="571"/>
          <ac:spMkLst>
            <pc:docMk/>
            <pc:sldMk cId="3665884044" sldId="1871"/>
            <ac:spMk id="69" creationId="{35AFCF86-B7BA-4D84-AB6D-872923F37038}"/>
          </ac:spMkLst>
        </pc:spChg>
        <pc:spChg chg="add mod">
          <ac:chgData name="Bantei Sangma [Chillibreeze]" userId="e7070ce9-26a8-4d3a-99f4-f2ac4567d4da" providerId="ADAL" clId="{CFF9C8AC-91C6-4F66-919E-79B541F6FF2E}" dt="2020-07-10T07:19:50.548" v="1242" actId="571"/>
          <ac:spMkLst>
            <pc:docMk/>
            <pc:sldMk cId="3665884044" sldId="1871"/>
            <ac:spMk id="70" creationId="{9A23FB4B-F40F-4D5E-B3A0-861CF0EA4CE6}"/>
          </ac:spMkLst>
        </pc:spChg>
        <pc:spChg chg="add mod">
          <ac:chgData name="Bantei Sangma [Chillibreeze]" userId="e7070ce9-26a8-4d3a-99f4-f2ac4567d4da" providerId="ADAL" clId="{CFF9C8AC-91C6-4F66-919E-79B541F6FF2E}" dt="2020-07-10T07:19:50.548" v="1242" actId="571"/>
          <ac:spMkLst>
            <pc:docMk/>
            <pc:sldMk cId="3665884044" sldId="1871"/>
            <ac:spMk id="71" creationId="{206AD28D-BDE5-4E1B-8F8E-6C66AE1161C8}"/>
          </ac:spMkLst>
        </pc:spChg>
        <pc:spChg chg="add mod">
          <ac:chgData name="Bantei Sangma [Chillibreeze]" userId="e7070ce9-26a8-4d3a-99f4-f2ac4567d4da" providerId="ADAL" clId="{CFF9C8AC-91C6-4F66-919E-79B541F6FF2E}" dt="2020-07-10T07:19:50.548" v="1242" actId="571"/>
          <ac:spMkLst>
            <pc:docMk/>
            <pc:sldMk cId="3665884044" sldId="1871"/>
            <ac:spMk id="72" creationId="{2549C1FB-A7DB-4D11-BB99-C65751EB122C}"/>
          </ac:spMkLst>
        </pc:spChg>
        <pc:spChg chg="add mod">
          <ac:chgData name="Bantei Sangma [Chillibreeze]" userId="e7070ce9-26a8-4d3a-99f4-f2ac4567d4da" providerId="ADAL" clId="{CFF9C8AC-91C6-4F66-919E-79B541F6FF2E}" dt="2020-07-10T07:19:50.548" v="1242" actId="571"/>
          <ac:spMkLst>
            <pc:docMk/>
            <pc:sldMk cId="3665884044" sldId="1871"/>
            <ac:spMk id="73" creationId="{C9A05AE8-9245-4AB8-BE04-3A69C711A2E1}"/>
          </ac:spMkLst>
        </pc:spChg>
        <pc:spChg chg="mod">
          <ac:chgData name="Bantei Sangma [Chillibreeze]" userId="e7070ce9-26a8-4d3a-99f4-f2ac4567d4da" providerId="ADAL" clId="{CFF9C8AC-91C6-4F66-919E-79B541F6FF2E}" dt="2020-07-10T07:19:50.548" v="1242" actId="571"/>
          <ac:spMkLst>
            <pc:docMk/>
            <pc:sldMk cId="3665884044" sldId="1871"/>
            <ac:spMk id="75" creationId="{CF629793-D1DD-4B43-BDC6-E3AE73F8BDED}"/>
          </ac:spMkLst>
        </pc:spChg>
        <pc:spChg chg="mod">
          <ac:chgData name="Bantei Sangma [Chillibreeze]" userId="e7070ce9-26a8-4d3a-99f4-f2ac4567d4da" providerId="ADAL" clId="{CFF9C8AC-91C6-4F66-919E-79B541F6FF2E}" dt="2020-07-10T07:19:50.548" v="1242" actId="571"/>
          <ac:spMkLst>
            <pc:docMk/>
            <pc:sldMk cId="3665884044" sldId="1871"/>
            <ac:spMk id="76" creationId="{9F5EEEAC-7BD8-4863-A3A7-86A6E5318ACB}"/>
          </ac:spMkLst>
        </pc:spChg>
        <pc:spChg chg="mod">
          <ac:chgData name="Bantei Sangma [Chillibreeze]" userId="e7070ce9-26a8-4d3a-99f4-f2ac4567d4da" providerId="ADAL" clId="{CFF9C8AC-91C6-4F66-919E-79B541F6FF2E}" dt="2020-07-10T07:19:50.548" v="1242" actId="571"/>
          <ac:spMkLst>
            <pc:docMk/>
            <pc:sldMk cId="3665884044" sldId="1871"/>
            <ac:spMk id="79" creationId="{E0F7DC9A-448C-472F-919B-4BF5478BA656}"/>
          </ac:spMkLst>
        </pc:spChg>
        <pc:spChg chg="mod">
          <ac:chgData name="Bantei Sangma [Chillibreeze]" userId="e7070ce9-26a8-4d3a-99f4-f2ac4567d4da" providerId="ADAL" clId="{CFF9C8AC-91C6-4F66-919E-79B541F6FF2E}" dt="2020-07-10T07:19:50.548" v="1242" actId="571"/>
          <ac:spMkLst>
            <pc:docMk/>
            <pc:sldMk cId="3665884044" sldId="1871"/>
            <ac:spMk id="80" creationId="{537D83D5-A260-4284-8046-06F3AD276FDB}"/>
          </ac:spMkLst>
        </pc:spChg>
        <pc:spChg chg="mod">
          <ac:chgData name="Bantei Sangma [Chillibreeze]" userId="e7070ce9-26a8-4d3a-99f4-f2ac4567d4da" providerId="ADAL" clId="{CFF9C8AC-91C6-4F66-919E-79B541F6FF2E}" dt="2020-07-10T07:19:50.548" v="1242" actId="571"/>
          <ac:spMkLst>
            <pc:docMk/>
            <pc:sldMk cId="3665884044" sldId="1871"/>
            <ac:spMk id="83" creationId="{90EA974C-E809-441C-96C3-87F0B2203E85}"/>
          </ac:spMkLst>
        </pc:spChg>
        <pc:spChg chg="mod">
          <ac:chgData name="Bantei Sangma [Chillibreeze]" userId="e7070ce9-26a8-4d3a-99f4-f2ac4567d4da" providerId="ADAL" clId="{CFF9C8AC-91C6-4F66-919E-79B541F6FF2E}" dt="2020-07-10T07:19:50.548" v="1242" actId="571"/>
          <ac:spMkLst>
            <pc:docMk/>
            <pc:sldMk cId="3665884044" sldId="1871"/>
            <ac:spMk id="84" creationId="{1E6918E0-1718-43B5-AD12-2691975A25FA}"/>
          </ac:spMkLst>
        </pc:spChg>
        <pc:spChg chg="mod">
          <ac:chgData name="Bantei Sangma [Chillibreeze]" userId="e7070ce9-26a8-4d3a-99f4-f2ac4567d4da" providerId="ADAL" clId="{CFF9C8AC-91C6-4F66-919E-79B541F6FF2E}" dt="2020-07-10T07:19:50.548" v="1242" actId="571"/>
          <ac:spMkLst>
            <pc:docMk/>
            <pc:sldMk cId="3665884044" sldId="1871"/>
            <ac:spMk id="87" creationId="{EDA49108-0197-476C-8BA3-7816A767D45B}"/>
          </ac:spMkLst>
        </pc:spChg>
        <pc:spChg chg="mod">
          <ac:chgData name="Bantei Sangma [Chillibreeze]" userId="e7070ce9-26a8-4d3a-99f4-f2ac4567d4da" providerId="ADAL" clId="{CFF9C8AC-91C6-4F66-919E-79B541F6FF2E}" dt="2020-07-10T07:19:50.548" v="1242" actId="571"/>
          <ac:spMkLst>
            <pc:docMk/>
            <pc:sldMk cId="3665884044" sldId="1871"/>
            <ac:spMk id="88" creationId="{2A3EDEF7-79F6-4A31-809E-8C2A3B30B1DF}"/>
          </ac:spMkLst>
        </pc:spChg>
        <pc:spChg chg="mod">
          <ac:chgData name="Bantei Sangma [Chillibreeze]" userId="e7070ce9-26a8-4d3a-99f4-f2ac4567d4da" providerId="ADAL" clId="{CFF9C8AC-91C6-4F66-919E-79B541F6FF2E}" dt="2020-07-10T07:19:50.548" v="1242" actId="571"/>
          <ac:spMkLst>
            <pc:docMk/>
            <pc:sldMk cId="3665884044" sldId="1871"/>
            <ac:spMk id="91" creationId="{B35A2775-4E75-4A78-9B1B-679752549020}"/>
          </ac:spMkLst>
        </pc:spChg>
        <pc:spChg chg="mod">
          <ac:chgData name="Bantei Sangma [Chillibreeze]" userId="e7070ce9-26a8-4d3a-99f4-f2ac4567d4da" providerId="ADAL" clId="{CFF9C8AC-91C6-4F66-919E-79B541F6FF2E}" dt="2020-07-10T07:19:50.548" v="1242" actId="571"/>
          <ac:spMkLst>
            <pc:docMk/>
            <pc:sldMk cId="3665884044" sldId="1871"/>
            <ac:spMk id="92" creationId="{8DBC31E0-CDBB-45CD-89EF-8AB77D02AA60}"/>
          </ac:spMkLst>
        </pc:spChg>
        <pc:spChg chg="mod">
          <ac:chgData name="Bantei Sangma [Chillibreeze]" userId="e7070ce9-26a8-4d3a-99f4-f2ac4567d4da" providerId="ADAL" clId="{CFF9C8AC-91C6-4F66-919E-79B541F6FF2E}" dt="2020-07-10T07:19:50.548" v="1242" actId="571"/>
          <ac:spMkLst>
            <pc:docMk/>
            <pc:sldMk cId="3665884044" sldId="1871"/>
            <ac:spMk id="95" creationId="{BCE4F8ED-CAC6-43C7-98AE-AAB122C30FA3}"/>
          </ac:spMkLst>
        </pc:spChg>
        <pc:spChg chg="mod">
          <ac:chgData name="Bantei Sangma [Chillibreeze]" userId="e7070ce9-26a8-4d3a-99f4-f2ac4567d4da" providerId="ADAL" clId="{CFF9C8AC-91C6-4F66-919E-79B541F6FF2E}" dt="2020-07-10T07:19:50.548" v="1242" actId="571"/>
          <ac:spMkLst>
            <pc:docMk/>
            <pc:sldMk cId="3665884044" sldId="1871"/>
            <ac:spMk id="96" creationId="{379130D9-2179-4441-B851-B53E8E9010F1}"/>
          </ac:spMkLst>
        </pc:spChg>
        <pc:spChg chg="add mod topLvl">
          <ac:chgData name="Bantei Sangma [Chillibreeze]" userId="e7070ce9-26a8-4d3a-99f4-f2ac4567d4da" providerId="ADAL" clId="{CFF9C8AC-91C6-4F66-919E-79B541F6FF2E}" dt="2020-07-10T07:26:09.168" v="1350" actId="165"/>
          <ac:spMkLst>
            <pc:docMk/>
            <pc:sldMk cId="3665884044" sldId="1871"/>
            <ac:spMk id="99" creationId="{7906BC30-F4C1-4B43-9982-B02F31ED5CD2}"/>
          </ac:spMkLst>
        </pc:spChg>
        <pc:spChg chg="mod">
          <ac:chgData name="Bantei Sangma [Chillibreeze]" userId="e7070ce9-26a8-4d3a-99f4-f2ac4567d4da" providerId="ADAL" clId="{CFF9C8AC-91C6-4F66-919E-79B541F6FF2E}" dt="2020-07-10T07:20:08.900" v="1244" actId="571"/>
          <ac:spMkLst>
            <pc:docMk/>
            <pc:sldMk cId="3665884044" sldId="1871"/>
            <ac:spMk id="101" creationId="{61373591-0B76-4DD1-95CA-89FDC2DF9099}"/>
          </ac:spMkLst>
        </pc:spChg>
        <pc:spChg chg="mod">
          <ac:chgData name="Bantei Sangma [Chillibreeze]" userId="e7070ce9-26a8-4d3a-99f4-f2ac4567d4da" providerId="ADAL" clId="{CFF9C8AC-91C6-4F66-919E-79B541F6FF2E}" dt="2020-07-10T07:20:08.900" v="1244" actId="571"/>
          <ac:spMkLst>
            <pc:docMk/>
            <pc:sldMk cId="3665884044" sldId="1871"/>
            <ac:spMk id="102" creationId="{281D0147-52B4-4E8E-BAAE-70BD5245B5E4}"/>
          </ac:spMkLst>
        </pc:spChg>
        <pc:spChg chg="add del mod">
          <ac:chgData name="Bantei Sangma [Chillibreeze]" userId="e7070ce9-26a8-4d3a-99f4-f2ac4567d4da" providerId="ADAL" clId="{CFF9C8AC-91C6-4F66-919E-79B541F6FF2E}" dt="2020-07-10T07:30:18.274" v="1423"/>
          <ac:spMkLst>
            <pc:docMk/>
            <pc:sldMk cId="3665884044" sldId="1871"/>
            <ac:spMk id="131" creationId="{35DB7549-D50D-4693-AA75-1848CA696A3A}"/>
          </ac:spMkLst>
        </pc:spChg>
        <pc:spChg chg="add del mod">
          <ac:chgData name="Bantei Sangma [Chillibreeze]" userId="e7070ce9-26a8-4d3a-99f4-f2ac4567d4da" providerId="ADAL" clId="{CFF9C8AC-91C6-4F66-919E-79B541F6FF2E}" dt="2020-07-10T07:30:18.274" v="1423"/>
          <ac:spMkLst>
            <pc:docMk/>
            <pc:sldMk cId="3665884044" sldId="1871"/>
            <ac:spMk id="132" creationId="{EC241D6E-461C-4548-B39A-C97FEE58BA29}"/>
          </ac:spMkLst>
        </pc:spChg>
        <pc:spChg chg="add mod">
          <ac:chgData name="Bantei Sangma [Chillibreeze]" userId="e7070ce9-26a8-4d3a-99f4-f2ac4567d4da" providerId="ADAL" clId="{CFF9C8AC-91C6-4F66-919E-79B541F6FF2E}" dt="2020-07-10T07:30:12.775" v="1414" actId="571"/>
          <ac:spMkLst>
            <pc:docMk/>
            <pc:sldMk cId="3665884044" sldId="1871"/>
            <ac:spMk id="133" creationId="{E03A332D-DA40-4115-B379-237D349631FE}"/>
          </ac:spMkLst>
        </pc:spChg>
        <pc:spChg chg="add mod">
          <ac:chgData name="Bantei Sangma [Chillibreeze]" userId="e7070ce9-26a8-4d3a-99f4-f2ac4567d4da" providerId="ADAL" clId="{CFF9C8AC-91C6-4F66-919E-79B541F6FF2E}" dt="2020-07-10T07:30:12.775" v="1414" actId="571"/>
          <ac:spMkLst>
            <pc:docMk/>
            <pc:sldMk cId="3665884044" sldId="1871"/>
            <ac:spMk id="134" creationId="{5461401D-45ED-4348-B504-E2B936061776}"/>
          </ac:spMkLst>
        </pc:spChg>
        <pc:spChg chg="mod">
          <ac:chgData name="Bantei Sangma [Chillibreeze]" userId="e7070ce9-26a8-4d3a-99f4-f2ac4567d4da" providerId="ADAL" clId="{CFF9C8AC-91C6-4F66-919E-79B541F6FF2E}" dt="2020-07-10T07:30:09.915" v="1408" actId="571"/>
          <ac:spMkLst>
            <pc:docMk/>
            <pc:sldMk cId="3665884044" sldId="1871"/>
            <ac:spMk id="137" creationId="{E1EDC073-EB39-4C16-A051-247CE17AF42B}"/>
          </ac:spMkLst>
        </pc:spChg>
        <pc:spChg chg="mod">
          <ac:chgData name="Bantei Sangma [Chillibreeze]" userId="e7070ce9-26a8-4d3a-99f4-f2ac4567d4da" providerId="ADAL" clId="{CFF9C8AC-91C6-4F66-919E-79B541F6FF2E}" dt="2020-07-10T07:30:09.915" v="1408" actId="571"/>
          <ac:spMkLst>
            <pc:docMk/>
            <pc:sldMk cId="3665884044" sldId="1871"/>
            <ac:spMk id="138" creationId="{DE696FCE-3DA8-4365-BDC4-14A340105ED3}"/>
          </ac:spMkLst>
        </pc:spChg>
        <pc:spChg chg="mod">
          <ac:chgData name="Bantei Sangma [Chillibreeze]" userId="e7070ce9-26a8-4d3a-99f4-f2ac4567d4da" providerId="ADAL" clId="{CFF9C8AC-91C6-4F66-919E-79B541F6FF2E}" dt="2020-07-10T07:30:09.744" v="1407" actId="571"/>
          <ac:spMkLst>
            <pc:docMk/>
            <pc:sldMk cId="3665884044" sldId="1871"/>
            <ac:spMk id="140" creationId="{F8F541BF-90DD-44A7-A68A-BFFBDBF62F64}"/>
          </ac:spMkLst>
        </pc:spChg>
        <pc:spChg chg="mod">
          <ac:chgData name="Bantei Sangma [Chillibreeze]" userId="e7070ce9-26a8-4d3a-99f4-f2ac4567d4da" providerId="ADAL" clId="{CFF9C8AC-91C6-4F66-919E-79B541F6FF2E}" dt="2020-07-10T07:30:09.744" v="1407" actId="571"/>
          <ac:spMkLst>
            <pc:docMk/>
            <pc:sldMk cId="3665884044" sldId="1871"/>
            <ac:spMk id="141" creationId="{E3855F4B-373E-4D39-8723-29B0DE151518}"/>
          </ac:spMkLst>
        </pc:spChg>
        <pc:spChg chg="mod">
          <ac:chgData name="Bantei Sangma [Chillibreeze]" userId="e7070ce9-26a8-4d3a-99f4-f2ac4567d4da" providerId="ADAL" clId="{CFF9C8AC-91C6-4F66-919E-79B541F6FF2E}" dt="2020-07-10T07:30:09.590" v="1406" actId="571"/>
          <ac:spMkLst>
            <pc:docMk/>
            <pc:sldMk cId="3665884044" sldId="1871"/>
            <ac:spMk id="143" creationId="{48A1E75A-B4AA-4D11-9641-5971344AA88A}"/>
          </ac:spMkLst>
        </pc:spChg>
        <pc:spChg chg="mod">
          <ac:chgData name="Bantei Sangma [Chillibreeze]" userId="e7070ce9-26a8-4d3a-99f4-f2ac4567d4da" providerId="ADAL" clId="{CFF9C8AC-91C6-4F66-919E-79B541F6FF2E}" dt="2020-07-10T07:30:09.590" v="1406" actId="571"/>
          <ac:spMkLst>
            <pc:docMk/>
            <pc:sldMk cId="3665884044" sldId="1871"/>
            <ac:spMk id="144" creationId="{0B7E6909-EB73-4F0F-906C-D6625A432255}"/>
          </ac:spMkLst>
        </pc:spChg>
        <pc:spChg chg="mod">
          <ac:chgData name="Bantei Sangma [Chillibreeze]" userId="e7070ce9-26a8-4d3a-99f4-f2ac4567d4da" providerId="ADAL" clId="{CFF9C8AC-91C6-4F66-919E-79B541F6FF2E}" dt="2020-07-10T07:30:09.406" v="1405" actId="571"/>
          <ac:spMkLst>
            <pc:docMk/>
            <pc:sldMk cId="3665884044" sldId="1871"/>
            <ac:spMk id="146" creationId="{B4A7497B-A7A6-44D1-A4DF-F637197B78B2}"/>
          </ac:spMkLst>
        </pc:spChg>
        <pc:spChg chg="mod">
          <ac:chgData name="Bantei Sangma [Chillibreeze]" userId="e7070ce9-26a8-4d3a-99f4-f2ac4567d4da" providerId="ADAL" clId="{CFF9C8AC-91C6-4F66-919E-79B541F6FF2E}" dt="2020-07-10T07:30:09.406" v="1405" actId="571"/>
          <ac:spMkLst>
            <pc:docMk/>
            <pc:sldMk cId="3665884044" sldId="1871"/>
            <ac:spMk id="147" creationId="{AC8626D3-DF69-4A10-968F-D1AA3AD11356}"/>
          </ac:spMkLst>
        </pc:spChg>
        <pc:spChg chg="mod">
          <ac:chgData name="Bantei Sangma [Chillibreeze]" userId="e7070ce9-26a8-4d3a-99f4-f2ac4567d4da" providerId="ADAL" clId="{CFF9C8AC-91C6-4F66-919E-79B541F6FF2E}" dt="2020-07-10T07:30:09.239" v="1404" actId="571"/>
          <ac:spMkLst>
            <pc:docMk/>
            <pc:sldMk cId="3665884044" sldId="1871"/>
            <ac:spMk id="149" creationId="{9DF1B13E-CDC4-4E31-8AFB-51929569F856}"/>
          </ac:spMkLst>
        </pc:spChg>
        <pc:spChg chg="mod">
          <ac:chgData name="Bantei Sangma [Chillibreeze]" userId="e7070ce9-26a8-4d3a-99f4-f2ac4567d4da" providerId="ADAL" clId="{CFF9C8AC-91C6-4F66-919E-79B541F6FF2E}" dt="2020-07-10T07:30:09.239" v="1404" actId="571"/>
          <ac:spMkLst>
            <pc:docMk/>
            <pc:sldMk cId="3665884044" sldId="1871"/>
            <ac:spMk id="150" creationId="{D8C16169-AC1A-4FC2-94D8-840F460ECC11}"/>
          </ac:spMkLst>
        </pc:spChg>
        <pc:spChg chg="mod">
          <ac:chgData name="Bantei Sangma [Chillibreeze]" userId="e7070ce9-26a8-4d3a-99f4-f2ac4567d4da" providerId="ADAL" clId="{CFF9C8AC-91C6-4F66-919E-79B541F6FF2E}" dt="2020-07-10T07:30:09.032" v="1403" actId="571"/>
          <ac:spMkLst>
            <pc:docMk/>
            <pc:sldMk cId="3665884044" sldId="1871"/>
            <ac:spMk id="152" creationId="{5D2A5EE8-0D22-464D-A840-8447EC6A3BF0}"/>
          </ac:spMkLst>
        </pc:spChg>
        <pc:spChg chg="mod">
          <ac:chgData name="Bantei Sangma [Chillibreeze]" userId="e7070ce9-26a8-4d3a-99f4-f2ac4567d4da" providerId="ADAL" clId="{CFF9C8AC-91C6-4F66-919E-79B541F6FF2E}" dt="2020-07-10T07:30:09.032" v="1403" actId="571"/>
          <ac:spMkLst>
            <pc:docMk/>
            <pc:sldMk cId="3665884044" sldId="1871"/>
            <ac:spMk id="153" creationId="{DAB5EED3-C439-4C4C-B6F4-4E90A3162C3B}"/>
          </ac:spMkLst>
        </pc:spChg>
        <pc:grpChg chg="add del mod topLvl">
          <ac:chgData name="Bantei Sangma [Chillibreeze]" userId="e7070ce9-26a8-4d3a-99f4-f2ac4567d4da" providerId="ADAL" clId="{CFF9C8AC-91C6-4F66-919E-79B541F6FF2E}" dt="2020-07-10T07:21:51.014" v="1257" actId="478"/>
          <ac:grpSpMkLst>
            <pc:docMk/>
            <pc:sldMk cId="3665884044" sldId="1871"/>
            <ac:grpSpMk id="32" creationId="{D601EAD2-A8B2-4575-A340-03DFD79AEA72}"/>
          </ac:grpSpMkLst>
        </pc:grpChg>
        <pc:grpChg chg="add del mod topLvl">
          <ac:chgData name="Bantei Sangma [Chillibreeze]" userId="e7070ce9-26a8-4d3a-99f4-f2ac4567d4da" providerId="ADAL" clId="{CFF9C8AC-91C6-4F66-919E-79B541F6FF2E}" dt="2020-07-10T07:21:20.886" v="1252" actId="478"/>
          <ac:grpSpMkLst>
            <pc:docMk/>
            <pc:sldMk cId="3665884044" sldId="1871"/>
            <ac:grpSpMk id="37" creationId="{7F06244C-766B-478C-BF47-AA0F9C63F961}"/>
          </ac:grpSpMkLst>
        </pc:grpChg>
        <pc:grpChg chg="add del mod topLvl">
          <ac:chgData name="Bantei Sangma [Chillibreeze]" userId="e7070ce9-26a8-4d3a-99f4-f2ac4567d4da" providerId="ADAL" clId="{CFF9C8AC-91C6-4F66-919E-79B541F6FF2E}" dt="2020-07-10T07:21:20.886" v="1252" actId="478"/>
          <ac:grpSpMkLst>
            <pc:docMk/>
            <pc:sldMk cId="3665884044" sldId="1871"/>
            <ac:grpSpMk id="43" creationId="{5C35F4B2-7590-47FC-AC1A-927A5AA65B4C}"/>
          </ac:grpSpMkLst>
        </pc:grpChg>
        <pc:grpChg chg="add del mod topLvl">
          <ac:chgData name="Bantei Sangma [Chillibreeze]" userId="e7070ce9-26a8-4d3a-99f4-f2ac4567d4da" providerId="ADAL" clId="{CFF9C8AC-91C6-4F66-919E-79B541F6FF2E}" dt="2020-07-10T07:21:20.886" v="1252" actId="478"/>
          <ac:grpSpMkLst>
            <pc:docMk/>
            <pc:sldMk cId="3665884044" sldId="1871"/>
            <ac:grpSpMk id="47" creationId="{181EDC0A-223D-4944-8506-8E2AFBE373CC}"/>
          </ac:grpSpMkLst>
        </pc:grpChg>
        <pc:grpChg chg="add del mod topLvl">
          <ac:chgData name="Bantei Sangma [Chillibreeze]" userId="e7070ce9-26a8-4d3a-99f4-f2ac4567d4da" providerId="ADAL" clId="{CFF9C8AC-91C6-4F66-919E-79B541F6FF2E}" dt="2020-07-10T07:21:21.473" v="1253" actId="478"/>
          <ac:grpSpMkLst>
            <pc:docMk/>
            <pc:sldMk cId="3665884044" sldId="1871"/>
            <ac:grpSpMk id="52" creationId="{7F2785E2-9F65-4CF1-955A-22EA52CF915A}"/>
          </ac:grpSpMkLst>
        </pc:grpChg>
        <pc:grpChg chg="add del mod topLvl">
          <ac:chgData name="Bantei Sangma [Chillibreeze]" userId="e7070ce9-26a8-4d3a-99f4-f2ac4567d4da" providerId="ADAL" clId="{CFF9C8AC-91C6-4F66-919E-79B541F6FF2E}" dt="2020-07-10T07:21:20.886" v="1252" actId="478"/>
          <ac:grpSpMkLst>
            <pc:docMk/>
            <pc:sldMk cId="3665884044" sldId="1871"/>
            <ac:grpSpMk id="57" creationId="{9CA47538-2534-4B70-9816-A9EE0E236BB1}"/>
          </ac:grpSpMkLst>
        </pc:grpChg>
        <pc:grpChg chg="add del mod">
          <ac:chgData name="Bantei Sangma [Chillibreeze]" userId="e7070ce9-26a8-4d3a-99f4-f2ac4567d4da" providerId="ADAL" clId="{CFF9C8AC-91C6-4F66-919E-79B541F6FF2E}" dt="2020-07-10T07:19:38.946" v="1240" actId="165"/>
          <ac:grpSpMkLst>
            <pc:docMk/>
            <pc:sldMk cId="3665884044" sldId="1871"/>
            <ac:grpSpMk id="62" creationId="{BDC71DF0-55EF-44C0-B6BA-439B8A56161B}"/>
          </ac:grpSpMkLst>
        </pc:grpChg>
        <pc:grpChg chg="add mod">
          <ac:chgData name="Bantei Sangma [Chillibreeze]" userId="e7070ce9-26a8-4d3a-99f4-f2ac4567d4da" providerId="ADAL" clId="{CFF9C8AC-91C6-4F66-919E-79B541F6FF2E}" dt="2020-07-10T07:19:50.548" v="1242" actId="571"/>
          <ac:grpSpMkLst>
            <pc:docMk/>
            <pc:sldMk cId="3665884044" sldId="1871"/>
            <ac:grpSpMk id="74" creationId="{8EC7C258-A6C6-4B21-AE4E-E83AF267C6ED}"/>
          </ac:grpSpMkLst>
        </pc:grpChg>
        <pc:grpChg chg="add mod">
          <ac:chgData name="Bantei Sangma [Chillibreeze]" userId="e7070ce9-26a8-4d3a-99f4-f2ac4567d4da" providerId="ADAL" clId="{CFF9C8AC-91C6-4F66-919E-79B541F6FF2E}" dt="2020-07-10T07:19:50.548" v="1242" actId="571"/>
          <ac:grpSpMkLst>
            <pc:docMk/>
            <pc:sldMk cId="3665884044" sldId="1871"/>
            <ac:grpSpMk id="78" creationId="{6C38213E-5F5C-43D2-94EB-C794CBFA5F96}"/>
          </ac:grpSpMkLst>
        </pc:grpChg>
        <pc:grpChg chg="add mod">
          <ac:chgData name="Bantei Sangma [Chillibreeze]" userId="e7070ce9-26a8-4d3a-99f4-f2ac4567d4da" providerId="ADAL" clId="{CFF9C8AC-91C6-4F66-919E-79B541F6FF2E}" dt="2020-07-10T07:19:50.548" v="1242" actId="571"/>
          <ac:grpSpMkLst>
            <pc:docMk/>
            <pc:sldMk cId="3665884044" sldId="1871"/>
            <ac:grpSpMk id="82" creationId="{0DD53C30-3979-432A-8F5B-3A400FA79766}"/>
          </ac:grpSpMkLst>
        </pc:grpChg>
        <pc:grpChg chg="add mod">
          <ac:chgData name="Bantei Sangma [Chillibreeze]" userId="e7070ce9-26a8-4d3a-99f4-f2ac4567d4da" providerId="ADAL" clId="{CFF9C8AC-91C6-4F66-919E-79B541F6FF2E}" dt="2020-07-10T07:19:50.548" v="1242" actId="571"/>
          <ac:grpSpMkLst>
            <pc:docMk/>
            <pc:sldMk cId="3665884044" sldId="1871"/>
            <ac:grpSpMk id="86" creationId="{31279404-BD69-4F19-9F34-F9FE0511F8A4}"/>
          </ac:grpSpMkLst>
        </pc:grpChg>
        <pc:grpChg chg="add mod">
          <ac:chgData name="Bantei Sangma [Chillibreeze]" userId="e7070ce9-26a8-4d3a-99f4-f2ac4567d4da" providerId="ADAL" clId="{CFF9C8AC-91C6-4F66-919E-79B541F6FF2E}" dt="2020-07-10T07:19:50.548" v="1242" actId="571"/>
          <ac:grpSpMkLst>
            <pc:docMk/>
            <pc:sldMk cId="3665884044" sldId="1871"/>
            <ac:grpSpMk id="90" creationId="{2F225BF8-181F-4721-8598-7B12ED548CE8}"/>
          </ac:grpSpMkLst>
        </pc:grpChg>
        <pc:grpChg chg="add mod">
          <ac:chgData name="Bantei Sangma [Chillibreeze]" userId="e7070ce9-26a8-4d3a-99f4-f2ac4567d4da" providerId="ADAL" clId="{CFF9C8AC-91C6-4F66-919E-79B541F6FF2E}" dt="2020-07-10T07:19:50.548" v="1242" actId="571"/>
          <ac:grpSpMkLst>
            <pc:docMk/>
            <pc:sldMk cId="3665884044" sldId="1871"/>
            <ac:grpSpMk id="94" creationId="{3DE2E39E-63A8-4605-8865-E4FA464E9738}"/>
          </ac:grpSpMkLst>
        </pc:grpChg>
        <pc:grpChg chg="add del mod">
          <ac:chgData name="Bantei Sangma [Chillibreeze]" userId="e7070ce9-26a8-4d3a-99f4-f2ac4567d4da" providerId="ADAL" clId="{CFF9C8AC-91C6-4F66-919E-79B541F6FF2E}" dt="2020-07-10T07:21:20.886" v="1252" actId="478"/>
          <ac:grpSpMkLst>
            <pc:docMk/>
            <pc:sldMk cId="3665884044" sldId="1871"/>
            <ac:grpSpMk id="100" creationId="{70417247-B9E5-4254-8269-FB698BBBF89E}"/>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05" creationId="{FA13E108-5DA4-4652-800F-3EB44BC4428A}"/>
          </ac:grpSpMkLst>
        </pc:grpChg>
        <pc:grpChg chg="add mod">
          <ac:chgData name="Bantei Sangma [Chillibreeze]" userId="e7070ce9-26a8-4d3a-99f4-f2ac4567d4da" providerId="ADAL" clId="{CFF9C8AC-91C6-4F66-919E-79B541F6FF2E}" dt="2020-07-10T07:22:20.507" v="1271" actId="164"/>
          <ac:grpSpMkLst>
            <pc:docMk/>
            <pc:sldMk cId="3665884044" sldId="1871"/>
            <ac:grpSpMk id="108" creationId="{56A7C9A4-E6D1-40AB-AB22-FAE2EBB48F00}"/>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14" creationId="{A4243903-6179-4AD3-9BA0-BDF5B08BAD6E}"/>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15" creationId="{CD0BDECE-3B1D-42A2-ACCA-56C252BC2D45}"/>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16" creationId="{597257B9-531A-457E-A97B-463ED3F068C9}"/>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17" creationId="{3D078BE3-F8F4-4972-84D2-53FE356AEECD}"/>
          </ac:grpSpMkLst>
        </pc:grpChg>
        <pc:grpChg chg="add mod">
          <ac:chgData name="Bantei Sangma [Chillibreeze]" userId="e7070ce9-26a8-4d3a-99f4-f2ac4567d4da" providerId="ADAL" clId="{CFF9C8AC-91C6-4F66-919E-79B541F6FF2E}" dt="2020-07-10T07:22:51.631" v="1285" actId="164"/>
          <ac:grpSpMkLst>
            <pc:docMk/>
            <pc:sldMk cId="3665884044" sldId="1871"/>
            <ac:grpSpMk id="118" creationId="{9C0A07E1-9C0C-4C87-8CC2-EE93A08493A0}"/>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19" creationId="{2401AAA6-DACB-4643-BABC-29221BFBD2C4}"/>
          </ac:grpSpMkLst>
        </pc:grpChg>
        <pc:grpChg chg="add mod">
          <ac:chgData name="Bantei Sangma [Chillibreeze]" userId="e7070ce9-26a8-4d3a-99f4-f2ac4567d4da" providerId="ADAL" clId="{CFF9C8AC-91C6-4F66-919E-79B541F6FF2E}" dt="2020-07-10T07:23:02.809" v="1291" actId="164"/>
          <ac:grpSpMkLst>
            <pc:docMk/>
            <pc:sldMk cId="3665884044" sldId="1871"/>
            <ac:grpSpMk id="120" creationId="{08DC9F73-6633-429B-B6B4-92DB617399AE}"/>
          </ac:grpSpMkLst>
        </pc:grpChg>
        <pc:grpChg chg="add del mod">
          <ac:chgData name="Bantei Sangma [Chillibreeze]" userId="e7070ce9-26a8-4d3a-99f4-f2ac4567d4da" providerId="ADAL" clId="{CFF9C8AC-91C6-4F66-919E-79B541F6FF2E}" dt="2020-07-10T07:23:26.591" v="1298" actId="165"/>
          <ac:grpSpMkLst>
            <pc:docMk/>
            <pc:sldMk cId="3665884044" sldId="1871"/>
            <ac:grpSpMk id="121" creationId="{21735077-39B8-48E1-BCE2-B5010F43AD20}"/>
          </ac:grpSpMkLst>
        </pc:grpChg>
        <pc:grpChg chg="add del mod">
          <ac:chgData name="Bantei Sangma [Chillibreeze]" userId="e7070ce9-26a8-4d3a-99f4-f2ac4567d4da" providerId="ADAL" clId="{CFF9C8AC-91C6-4F66-919E-79B541F6FF2E}" dt="2020-07-10T07:25:39.195" v="1339" actId="165"/>
          <ac:grpSpMkLst>
            <pc:docMk/>
            <pc:sldMk cId="3665884044" sldId="1871"/>
            <ac:grpSpMk id="122" creationId="{142605AD-0338-4EA7-89BE-34DD17D38B11}"/>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3" creationId="{26270C1C-FBE4-447A-8ED6-40FBCE1EC4B3}"/>
          </ac:grpSpMkLst>
        </pc:grpChg>
        <pc:grpChg chg="add mod">
          <ac:chgData name="Bantei Sangma [Chillibreeze]" userId="e7070ce9-26a8-4d3a-99f4-f2ac4567d4da" providerId="ADAL" clId="{CFF9C8AC-91C6-4F66-919E-79B541F6FF2E}" dt="2020-07-10T07:25:47.926" v="1342" actId="164"/>
          <ac:grpSpMkLst>
            <pc:docMk/>
            <pc:sldMk cId="3665884044" sldId="1871"/>
            <ac:grpSpMk id="124" creationId="{9CA15F5E-ACBE-473E-8512-2A0B33712A3E}"/>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5" creationId="{C445BDA0-9EF0-4494-BED5-447CDB631048}"/>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6" creationId="{219023FE-A328-4046-B895-7B60EBE7AA8D}"/>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7" creationId="{92559769-DC82-4E17-90E2-431F6FD1F9CF}"/>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8" creationId="{CF441DB3-9187-4DEB-9473-38F92E6D1192}"/>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29" creationId="{9EBC8F61-74E3-4842-93B2-7E90A04FF10D}"/>
          </ac:grpSpMkLst>
        </pc:grpChg>
        <pc:grpChg chg="add del mod">
          <ac:chgData name="Bantei Sangma [Chillibreeze]" userId="e7070ce9-26a8-4d3a-99f4-f2ac4567d4da" providerId="ADAL" clId="{CFF9C8AC-91C6-4F66-919E-79B541F6FF2E}" dt="2020-07-10T07:26:09.168" v="1350" actId="165"/>
          <ac:grpSpMkLst>
            <pc:docMk/>
            <pc:sldMk cId="3665884044" sldId="1871"/>
            <ac:grpSpMk id="130" creationId="{64F7EC77-9EEA-4D7C-B243-55F77C8E8D54}"/>
          </ac:grpSpMkLst>
        </pc:grpChg>
        <pc:grpChg chg="add mod">
          <ac:chgData name="Bantei Sangma [Chillibreeze]" userId="e7070ce9-26a8-4d3a-99f4-f2ac4567d4da" providerId="ADAL" clId="{CFF9C8AC-91C6-4F66-919E-79B541F6FF2E}" dt="2020-07-10T07:30:10.670" v="1411" actId="164"/>
          <ac:grpSpMkLst>
            <pc:docMk/>
            <pc:sldMk cId="3665884044" sldId="1871"/>
            <ac:grpSpMk id="135" creationId="{D487DA6E-A35E-41AD-9A26-2E3CF3A24D8E}"/>
          </ac:grpSpMkLst>
        </pc:grpChg>
        <pc:grpChg chg="add mod">
          <ac:chgData name="Bantei Sangma [Chillibreeze]" userId="e7070ce9-26a8-4d3a-99f4-f2ac4567d4da" providerId="ADAL" clId="{CFF9C8AC-91C6-4F66-919E-79B541F6FF2E}" dt="2020-07-10T07:30:09.915" v="1408" actId="571"/>
          <ac:grpSpMkLst>
            <pc:docMk/>
            <pc:sldMk cId="3665884044" sldId="1871"/>
            <ac:grpSpMk id="136" creationId="{39051C4A-83F7-4976-82F4-5329D3510FEE}"/>
          </ac:grpSpMkLst>
        </pc:grpChg>
        <pc:grpChg chg="add mod">
          <ac:chgData name="Bantei Sangma [Chillibreeze]" userId="e7070ce9-26a8-4d3a-99f4-f2ac4567d4da" providerId="ADAL" clId="{CFF9C8AC-91C6-4F66-919E-79B541F6FF2E}" dt="2020-07-10T07:30:09.744" v="1407" actId="571"/>
          <ac:grpSpMkLst>
            <pc:docMk/>
            <pc:sldMk cId="3665884044" sldId="1871"/>
            <ac:grpSpMk id="139" creationId="{546A9406-F49A-4C08-B5ED-E48255FC45D1}"/>
          </ac:grpSpMkLst>
        </pc:grpChg>
        <pc:grpChg chg="add mod">
          <ac:chgData name="Bantei Sangma [Chillibreeze]" userId="e7070ce9-26a8-4d3a-99f4-f2ac4567d4da" providerId="ADAL" clId="{CFF9C8AC-91C6-4F66-919E-79B541F6FF2E}" dt="2020-07-10T07:30:09.590" v="1406" actId="571"/>
          <ac:grpSpMkLst>
            <pc:docMk/>
            <pc:sldMk cId="3665884044" sldId="1871"/>
            <ac:grpSpMk id="142" creationId="{ED3F77B3-1168-4BD3-8329-3EBC68182B1A}"/>
          </ac:grpSpMkLst>
        </pc:grpChg>
        <pc:grpChg chg="add mod">
          <ac:chgData name="Bantei Sangma [Chillibreeze]" userId="e7070ce9-26a8-4d3a-99f4-f2ac4567d4da" providerId="ADAL" clId="{CFF9C8AC-91C6-4F66-919E-79B541F6FF2E}" dt="2020-07-10T07:30:09.406" v="1405" actId="571"/>
          <ac:grpSpMkLst>
            <pc:docMk/>
            <pc:sldMk cId="3665884044" sldId="1871"/>
            <ac:grpSpMk id="145" creationId="{62E98525-5462-41F8-B9D3-C53F27CB6C83}"/>
          </ac:grpSpMkLst>
        </pc:grpChg>
        <pc:grpChg chg="add mod">
          <ac:chgData name="Bantei Sangma [Chillibreeze]" userId="e7070ce9-26a8-4d3a-99f4-f2ac4567d4da" providerId="ADAL" clId="{CFF9C8AC-91C6-4F66-919E-79B541F6FF2E}" dt="2020-07-10T07:30:09.239" v="1404" actId="571"/>
          <ac:grpSpMkLst>
            <pc:docMk/>
            <pc:sldMk cId="3665884044" sldId="1871"/>
            <ac:grpSpMk id="148" creationId="{DF05CB44-323D-4005-B7C2-521A3B72DD0D}"/>
          </ac:grpSpMkLst>
        </pc:grpChg>
        <pc:grpChg chg="add mod">
          <ac:chgData name="Bantei Sangma [Chillibreeze]" userId="e7070ce9-26a8-4d3a-99f4-f2ac4567d4da" providerId="ADAL" clId="{CFF9C8AC-91C6-4F66-919E-79B541F6FF2E}" dt="2020-07-10T07:30:09.032" v="1403" actId="571"/>
          <ac:grpSpMkLst>
            <pc:docMk/>
            <pc:sldMk cId="3665884044" sldId="1871"/>
            <ac:grpSpMk id="151" creationId="{F25A2932-F040-4816-B3D1-66CA093B49CA}"/>
          </ac:grpSpMkLst>
        </pc:grpChg>
        <pc:picChg chg="add del mod">
          <ac:chgData name="Bantei Sangma [Chillibreeze]" userId="e7070ce9-26a8-4d3a-99f4-f2ac4567d4da" providerId="ADAL" clId="{CFF9C8AC-91C6-4F66-919E-79B541F6FF2E}" dt="2020-07-10T07:19:05.532" v="1232" actId="478"/>
          <ac:picMkLst>
            <pc:docMk/>
            <pc:sldMk cId="3665884044" sldId="1871"/>
            <ac:picMk id="3" creationId="{BF664FD1-3ADB-43EE-AC29-B50A1E3CED47}"/>
          </ac:picMkLst>
        </pc:picChg>
        <pc:picChg chg="add del mod">
          <ac:chgData name="Bantei Sangma [Chillibreeze]" userId="e7070ce9-26a8-4d3a-99f4-f2ac4567d4da" providerId="ADAL" clId="{CFF9C8AC-91C6-4F66-919E-79B541F6FF2E}" dt="2020-07-10T07:18:04.853" v="1228" actId="478"/>
          <ac:picMkLst>
            <pc:docMk/>
            <pc:sldMk cId="3665884044" sldId="1871"/>
            <ac:picMk id="5" creationId="{1354DDA5-B9CE-47E8-8E2D-582C59D509F8}"/>
          </ac:picMkLst>
        </pc:picChg>
        <pc:picChg chg="add del mod">
          <ac:chgData name="Bantei Sangma [Chillibreeze]" userId="e7070ce9-26a8-4d3a-99f4-f2ac4567d4da" providerId="ADAL" clId="{CFF9C8AC-91C6-4F66-919E-79B541F6FF2E}" dt="2020-07-10T07:18:04.853" v="1228" actId="478"/>
          <ac:picMkLst>
            <pc:docMk/>
            <pc:sldMk cId="3665884044" sldId="1871"/>
            <ac:picMk id="8" creationId="{E8F82309-FBB9-4A8D-89DA-DCE8B8BD8410}"/>
          </ac:picMkLst>
        </pc:picChg>
        <pc:picChg chg="add del mod">
          <ac:chgData name="Bantei Sangma [Chillibreeze]" userId="e7070ce9-26a8-4d3a-99f4-f2ac4567d4da" providerId="ADAL" clId="{CFF9C8AC-91C6-4F66-919E-79B541F6FF2E}" dt="2020-07-10T07:18:04.853" v="1228" actId="478"/>
          <ac:picMkLst>
            <pc:docMk/>
            <pc:sldMk cId="3665884044" sldId="1871"/>
            <ac:picMk id="10" creationId="{D4C9923D-96C6-4A8E-835F-F46BE13D13BB}"/>
          </ac:picMkLst>
        </pc:picChg>
        <pc:picChg chg="add del mod">
          <ac:chgData name="Bantei Sangma [Chillibreeze]" userId="e7070ce9-26a8-4d3a-99f4-f2ac4567d4da" providerId="ADAL" clId="{CFF9C8AC-91C6-4F66-919E-79B541F6FF2E}" dt="2020-07-10T07:19:05.532" v="1232" actId="478"/>
          <ac:picMkLst>
            <pc:docMk/>
            <pc:sldMk cId="3665884044" sldId="1871"/>
            <ac:picMk id="21" creationId="{7180924A-7607-41E7-B8CE-CE34FA4044E3}"/>
          </ac:picMkLst>
        </pc:picChg>
        <pc:picChg chg="add del mod">
          <ac:chgData name="Bantei Sangma [Chillibreeze]" userId="e7070ce9-26a8-4d3a-99f4-f2ac4567d4da" providerId="ADAL" clId="{CFF9C8AC-91C6-4F66-919E-79B541F6FF2E}" dt="2020-07-10T07:19:05.532" v="1232" actId="478"/>
          <ac:picMkLst>
            <pc:docMk/>
            <pc:sldMk cId="3665884044" sldId="1871"/>
            <ac:picMk id="22" creationId="{99453CF9-D220-4A96-8B0F-7C29F311DE9F}"/>
          </ac:picMkLst>
        </pc:picChg>
        <pc:picChg chg="add del mod">
          <ac:chgData name="Bantei Sangma [Chillibreeze]" userId="e7070ce9-26a8-4d3a-99f4-f2ac4567d4da" providerId="ADAL" clId="{CFF9C8AC-91C6-4F66-919E-79B541F6FF2E}" dt="2020-07-10T07:19:05.532" v="1232" actId="478"/>
          <ac:picMkLst>
            <pc:docMk/>
            <pc:sldMk cId="3665884044" sldId="1871"/>
            <ac:picMk id="23" creationId="{2D09E171-AD1B-4EDF-A41C-1D22B2CA5E1C}"/>
          </ac:picMkLst>
        </pc:picChg>
        <pc:picChg chg="add del mod">
          <ac:chgData name="Bantei Sangma [Chillibreeze]" userId="e7070ce9-26a8-4d3a-99f4-f2ac4567d4da" providerId="ADAL" clId="{CFF9C8AC-91C6-4F66-919E-79B541F6FF2E}" dt="2020-07-10T07:19:05.532" v="1232" actId="478"/>
          <ac:picMkLst>
            <pc:docMk/>
            <pc:sldMk cId="3665884044" sldId="1871"/>
            <ac:picMk id="24" creationId="{BB7B2E70-56B5-4BBB-8DC4-73B505FB9E85}"/>
          </ac:picMkLst>
        </pc:picChg>
        <pc:picChg chg="add del mod">
          <ac:chgData name="Bantei Sangma [Chillibreeze]" userId="e7070ce9-26a8-4d3a-99f4-f2ac4567d4da" providerId="ADAL" clId="{CFF9C8AC-91C6-4F66-919E-79B541F6FF2E}" dt="2020-07-10T07:19:05.532" v="1232" actId="478"/>
          <ac:picMkLst>
            <pc:docMk/>
            <pc:sldMk cId="3665884044" sldId="1871"/>
            <ac:picMk id="25" creationId="{B30FA24D-55DA-4FC7-94E4-6EB8C0A605D0}"/>
          </ac:picMkLst>
        </pc:picChg>
        <pc:picChg chg="add del mod">
          <ac:chgData name="Bantei Sangma [Chillibreeze]" userId="e7070ce9-26a8-4d3a-99f4-f2ac4567d4da" providerId="ADAL" clId="{CFF9C8AC-91C6-4F66-919E-79B541F6FF2E}" dt="2020-07-10T07:19:05.532" v="1232" actId="478"/>
          <ac:picMkLst>
            <pc:docMk/>
            <pc:sldMk cId="3665884044" sldId="1871"/>
            <ac:picMk id="26" creationId="{952E92A1-BD63-4ED9-9762-A68F68BD0939}"/>
          </ac:picMkLst>
        </pc:picChg>
        <pc:picChg chg="add mod ord topLvl">
          <ac:chgData name="Bantei Sangma [Chillibreeze]" userId="e7070ce9-26a8-4d3a-99f4-f2ac4567d4da" providerId="ADAL" clId="{CFF9C8AC-91C6-4F66-919E-79B541F6FF2E}" dt="2020-07-10T10:42:28.661" v="3536" actId="1076"/>
          <ac:picMkLst>
            <pc:docMk/>
            <pc:sldMk cId="3665884044" sldId="1871"/>
            <ac:picMk id="36" creationId="{3DE4D567-C3D4-43EB-B43A-B17244614DE6}"/>
          </ac:picMkLst>
        </pc:picChg>
        <pc:picChg chg="add del mod ord topLvl">
          <ac:chgData name="Bantei Sangma [Chillibreeze]" userId="e7070ce9-26a8-4d3a-99f4-f2ac4567d4da" providerId="ADAL" clId="{CFF9C8AC-91C6-4F66-919E-79B541F6FF2E}" dt="2020-07-10T09:57:17.988" v="3005" actId="478"/>
          <ac:picMkLst>
            <pc:docMk/>
            <pc:sldMk cId="3665884044" sldId="1871"/>
            <ac:picMk id="41" creationId="{6563E7E7-1EA8-4BD4-8B23-9BA4D0D4E059}"/>
          </ac:picMkLst>
        </pc:picChg>
        <pc:picChg chg="add mod ord topLvl">
          <ac:chgData name="Bantei Sangma [Chillibreeze]" userId="e7070ce9-26a8-4d3a-99f4-f2ac4567d4da" providerId="ADAL" clId="{CFF9C8AC-91C6-4F66-919E-79B541F6FF2E}" dt="2020-07-10T09:55:08.692" v="2977" actId="1076"/>
          <ac:picMkLst>
            <pc:docMk/>
            <pc:sldMk cId="3665884044" sldId="1871"/>
            <ac:picMk id="46" creationId="{C25BE70A-93F6-47AA-B7A4-80A21DE498E7}"/>
          </ac:picMkLst>
        </pc:picChg>
        <pc:picChg chg="add del mod ord topLvl">
          <ac:chgData name="Bantei Sangma [Chillibreeze]" userId="e7070ce9-26a8-4d3a-99f4-f2ac4567d4da" providerId="ADAL" clId="{CFF9C8AC-91C6-4F66-919E-79B541F6FF2E}" dt="2020-07-10T09:57:17.988" v="3005" actId="478"/>
          <ac:picMkLst>
            <pc:docMk/>
            <pc:sldMk cId="3665884044" sldId="1871"/>
            <ac:picMk id="51" creationId="{07140B62-8F28-4EBD-A0E2-3EF78CC3BDDC}"/>
          </ac:picMkLst>
        </pc:picChg>
        <pc:picChg chg="add del mod ord topLvl">
          <ac:chgData name="Bantei Sangma [Chillibreeze]" userId="e7070ce9-26a8-4d3a-99f4-f2ac4567d4da" providerId="ADAL" clId="{CFF9C8AC-91C6-4F66-919E-79B541F6FF2E}" dt="2020-07-10T09:57:17.988" v="3005" actId="478"/>
          <ac:picMkLst>
            <pc:docMk/>
            <pc:sldMk cId="3665884044" sldId="1871"/>
            <ac:picMk id="56" creationId="{3E2C1088-A11B-4895-8E29-E9DA3F736277}"/>
          </ac:picMkLst>
        </pc:picChg>
        <pc:picChg chg="add del mod ord topLvl">
          <ac:chgData name="Bantei Sangma [Chillibreeze]" userId="e7070ce9-26a8-4d3a-99f4-f2ac4567d4da" providerId="ADAL" clId="{CFF9C8AC-91C6-4F66-919E-79B541F6FF2E}" dt="2020-07-10T09:57:17.988" v="3005" actId="478"/>
          <ac:picMkLst>
            <pc:docMk/>
            <pc:sldMk cId="3665884044" sldId="1871"/>
            <ac:picMk id="61" creationId="{FC2842BC-4241-44AA-97E2-69E221C138F9}"/>
          </ac:picMkLst>
        </pc:picChg>
        <pc:picChg chg="add mod">
          <ac:chgData name="Bantei Sangma [Chillibreeze]" userId="e7070ce9-26a8-4d3a-99f4-f2ac4567d4da" providerId="ADAL" clId="{CFF9C8AC-91C6-4F66-919E-79B541F6FF2E}" dt="2020-07-10T07:19:50.548" v="1242" actId="571"/>
          <ac:picMkLst>
            <pc:docMk/>
            <pc:sldMk cId="3665884044" sldId="1871"/>
            <ac:picMk id="77" creationId="{D778082A-FB4F-47F9-BCF9-409AC9DE16E7}"/>
          </ac:picMkLst>
        </pc:picChg>
        <pc:picChg chg="add mod">
          <ac:chgData name="Bantei Sangma [Chillibreeze]" userId="e7070ce9-26a8-4d3a-99f4-f2ac4567d4da" providerId="ADAL" clId="{CFF9C8AC-91C6-4F66-919E-79B541F6FF2E}" dt="2020-07-10T07:19:50.548" v="1242" actId="571"/>
          <ac:picMkLst>
            <pc:docMk/>
            <pc:sldMk cId="3665884044" sldId="1871"/>
            <ac:picMk id="81" creationId="{3F693AB0-3AB2-4356-99A2-6E1372AEC6BF}"/>
          </ac:picMkLst>
        </pc:picChg>
        <pc:picChg chg="add mod">
          <ac:chgData name="Bantei Sangma [Chillibreeze]" userId="e7070ce9-26a8-4d3a-99f4-f2ac4567d4da" providerId="ADAL" clId="{CFF9C8AC-91C6-4F66-919E-79B541F6FF2E}" dt="2020-07-10T07:19:50.548" v="1242" actId="571"/>
          <ac:picMkLst>
            <pc:docMk/>
            <pc:sldMk cId="3665884044" sldId="1871"/>
            <ac:picMk id="85" creationId="{1700AF9A-D87E-450B-92E5-01EB3B74584C}"/>
          </ac:picMkLst>
        </pc:picChg>
        <pc:picChg chg="add mod">
          <ac:chgData name="Bantei Sangma [Chillibreeze]" userId="e7070ce9-26a8-4d3a-99f4-f2ac4567d4da" providerId="ADAL" clId="{CFF9C8AC-91C6-4F66-919E-79B541F6FF2E}" dt="2020-07-10T07:19:50.548" v="1242" actId="571"/>
          <ac:picMkLst>
            <pc:docMk/>
            <pc:sldMk cId="3665884044" sldId="1871"/>
            <ac:picMk id="89" creationId="{70FD9992-8437-4326-BFCD-0475A9D3CF1B}"/>
          </ac:picMkLst>
        </pc:picChg>
        <pc:picChg chg="add mod">
          <ac:chgData name="Bantei Sangma [Chillibreeze]" userId="e7070ce9-26a8-4d3a-99f4-f2ac4567d4da" providerId="ADAL" clId="{CFF9C8AC-91C6-4F66-919E-79B541F6FF2E}" dt="2020-07-10T07:19:50.548" v="1242" actId="571"/>
          <ac:picMkLst>
            <pc:docMk/>
            <pc:sldMk cId="3665884044" sldId="1871"/>
            <ac:picMk id="93" creationId="{B3BEE6A6-908C-4B04-ABCB-DFCE38227991}"/>
          </ac:picMkLst>
        </pc:picChg>
        <pc:picChg chg="add mod">
          <ac:chgData name="Bantei Sangma [Chillibreeze]" userId="e7070ce9-26a8-4d3a-99f4-f2ac4567d4da" providerId="ADAL" clId="{CFF9C8AC-91C6-4F66-919E-79B541F6FF2E}" dt="2020-07-10T07:19:50.548" v="1242" actId="571"/>
          <ac:picMkLst>
            <pc:docMk/>
            <pc:sldMk cId="3665884044" sldId="1871"/>
            <ac:picMk id="97" creationId="{9118BA84-2408-46FF-AC09-ED16A9006404}"/>
          </ac:picMkLst>
        </pc:picChg>
        <pc:picChg chg="add del mod ord">
          <ac:chgData name="Bantei Sangma [Chillibreeze]" userId="e7070ce9-26a8-4d3a-99f4-f2ac4567d4da" providerId="ADAL" clId="{CFF9C8AC-91C6-4F66-919E-79B541F6FF2E}" dt="2020-07-10T09:57:17.988" v="3005" actId="478"/>
          <ac:picMkLst>
            <pc:docMk/>
            <pc:sldMk cId="3665884044" sldId="1871"/>
            <ac:picMk id="103" creationId="{C75F9D11-A1D8-4D6B-82C2-60404F5E0E3E}"/>
          </ac:picMkLst>
        </pc:picChg>
        <pc:picChg chg="add del mod topLvl">
          <ac:chgData name="Bantei Sangma [Chillibreeze]" userId="e7070ce9-26a8-4d3a-99f4-f2ac4567d4da" providerId="ADAL" clId="{CFF9C8AC-91C6-4F66-919E-79B541F6FF2E}" dt="2020-07-10T11:00:13.853" v="3670" actId="12788"/>
          <ac:picMkLst>
            <pc:docMk/>
            <pc:sldMk cId="3665884044" sldId="1871"/>
            <ac:picMk id="104" creationId="{27056395-3DEA-475F-B116-BBA0A6C4487C}"/>
          </ac:picMkLst>
        </pc:picChg>
        <pc:picChg chg="add mod">
          <ac:chgData name="Bantei Sangma [Chillibreeze]" userId="e7070ce9-26a8-4d3a-99f4-f2ac4567d4da" providerId="ADAL" clId="{CFF9C8AC-91C6-4F66-919E-79B541F6FF2E}" dt="2020-07-10T07:22:05.442" v="1263" actId="571"/>
          <ac:picMkLst>
            <pc:docMk/>
            <pc:sldMk cId="3665884044" sldId="1871"/>
            <ac:picMk id="106" creationId="{44DDAFD5-6524-4727-ABF6-5B063954837B}"/>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07" creationId="{9219084A-6737-471A-8506-25D80DE3FC23}"/>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09" creationId="{41D288E3-A43A-4EE9-BC7E-141435B9DB11}"/>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10" creationId="{DED0B891-4A1C-4CDA-9F8E-E18E55FF1776}"/>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11" creationId="{DD6135A8-D536-4834-A1AD-26148CE8B104}"/>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12" creationId="{91820C4A-51A2-4DCE-8658-C6C2495B5AA3}"/>
          </ac:picMkLst>
        </pc:picChg>
        <pc:picChg chg="add del mod topLvl">
          <ac:chgData name="Bantei Sangma [Chillibreeze]" userId="e7070ce9-26a8-4d3a-99f4-f2ac4567d4da" providerId="ADAL" clId="{CFF9C8AC-91C6-4F66-919E-79B541F6FF2E}" dt="2020-07-10T07:30:10.096" v="1409" actId="478"/>
          <ac:picMkLst>
            <pc:docMk/>
            <pc:sldMk cId="3665884044" sldId="1871"/>
            <ac:picMk id="113" creationId="{4C985BCC-924C-4416-A1B7-BD17F14BFC7C}"/>
          </ac:picMkLst>
        </pc:picChg>
        <pc:picChg chg="add del mod">
          <ac:chgData name="Bantei Sangma [Chillibreeze]" userId="e7070ce9-26a8-4d3a-99f4-f2ac4567d4da" providerId="ADAL" clId="{CFF9C8AC-91C6-4F66-919E-79B541F6FF2E}" dt="2020-07-10T10:42:32.603" v="3537" actId="478"/>
          <ac:picMkLst>
            <pc:docMk/>
            <pc:sldMk cId="3665884044" sldId="1871"/>
            <ac:picMk id="154" creationId="{8FFA6A47-E1AF-4B30-A561-D2F1AFDECC58}"/>
          </ac:picMkLst>
        </pc:picChg>
        <pc:picChg chg="add mod">
          <ac:chgData name="Bantei Sangma [Chillibreeze]" userId="e7070ce9-26a8-4d3a-99f4-f2ac4567d4da" providerId="ADAL" clId="{CFF9C8AC-91C6-4F66-919E-79B541F6FF2E}" dt="2020-07-10T09:55:25.086" v="2981" actId="1076"/>
          <ac:picMkLst>
            <pc:docMk/>
            <pc:sldMk cId="3665884044" sldId="1871"/>
            <ac:picMk id="155" creationId="{D4A5FCC1-C008-4609-811F-F53C6738D803}"/>
          </ac:picMkLst>
        </pc:picChg>
        <pc:picChg chg="add mod">
          <ac:chgData name="Bantei Sangma [Chillibreeze]" userId="e7070ce9-26a8-4d3a-99f4-f2ac4567d4da" providerId="ADAL" clId="{CFF9C8AC-91C6-4F66-919E-79B541F6FF2E}" dt="2020-07-10T10:43:56.060" v="3539" actId="1036"/>
          <ac:picMkLst>
            <pc:docMk/>
            <pc:sldMk cId="3665884044" sldId="1871"/>
            <ac:picMk id="156" creationId="{BAD2C1A5-1A70-4CDD-A768-8F748B8B2C30}"/>
          </ac:picMkLst>
        </pc:picChg>
        <pc:picChg chg="add del mod">
          <ac:chgData name="Bantei Sangma [Chillibreeze]" userId="e7070ce9-26a8-4d3a-99f4-f2ac4567d4da" providerId="ADAL" clId="{CFF9C8AC-91C6-4F66-919E-79B541F6FF2E}" dt="2020-07-10T09:57:46.333" v="3006" actId="478"/>
          <ac:picMkLst>
            <pc:docMk/>
            <pc:sldMk cId="3665884044" sldId="1871"/>
            <ac:picMk id="157" creationId="{371D8227-FCAC-4F02-B378-B354992A2A74}"/>
          </ac:picMkLst>
        </pc:picChg>
        <pc:picChg chg="add mod">
          <ac:chgData name="Bantei Sangma [Chillibreeze]" userId="e7070ce9-26a8-4d3a-99f4-f2ac4567d4da" providerId="ADAL" clId="{CFF9C8AC-91C6-4F66-919E-79B541F6FF2E}" dt="2020-07-10T09:57:12.224" v="3004" actId="1038"/>
          <ac:picMkLst>
            <pc:docMk/>
            <pc:sldMk cId="3665884044" sldId="1871"/>
            <ac:picMk id="158" creationId="{7BD6DA3C-12E5-4055-AF9D-3377F4811560}"/>
          </ac:picMkLst>
        </pc:picChg>
        <pc:picChg chg="add mod">
          <ac:chgData name="Bantei Sangma [Chillibreeze]" userId="e7070ce9-26a8-4d3a-99f4-f2ac4567d4da" providerId="ADAL" clId="{CFF9C8AC-91C6-4F66-919E-79B541F6FF2E}" dt="2020-07-10T10:00:43.838" v="3044" actId="1035"/>
          <ac:picMkLst>
            <pc:docMk/>
            <pc:sldMk cId="3665884044" sldId="1871"/>
            <ac:picMk id="159" creationId="{0C37DD97-FFD8-4B57-8A3B-C214610D1475}"/>
          </ac:picMkLst>
        </pc:picChg>
        <pc:picChg chg="add del mod">
          <ac:chgData name="Bantei Sangma [Chillibreeze]" userId="e7070ce9-26a8-4d3a-99f4-f2ac4567d4da" providerId="ADAL" clId="{CFF9C8AC-91C6-4F66-919E-79B541F6FF2E}" dt="2020-07-10T10:59:54.419" v="3665" actId="478"/>
          <ac:picMkLst>
            <pc:docMk/>
            <pc:sldMk cId="3665884044" sldId="1871"/>
            <ac:picMk id="160" creationId="{F3671F77-0067-4E11-9062-BCB4A84E2F04}"/>
          </ac:picMkLst>
        </pc:picChg>
        <pc:picChg chg="add mod">
          <ac:chgData name="Bantei Sangma [Chillibreeze]" userId="e7070ce9-26a8-4d3a-99f4-f2ac4567d4da" providerId="ADAL" clId="{CFF9C8AC-91C6-4F66-919E-79B541F6FF2E}" dt="2020-07-10T11:00:13.853" v="3670" actId="12788"/>
          <ac:picMkLst>
            <pc:docMk/>
            <pc:sldMk cId="3665884044" sldId="1871"/>
            <ac:picMk id="161" creationId="{0C7F91FA-BCBE-4BB4-BB63-0A63FEBF3ECF}"/>
          </ac:picMkLst>
        </pc:picChg>
        <pc:cxnChg chg="add del mod">
          <ac:chgData name="Bantei Sangma [Chillibreeze]" userId="e7070ce9-26a8-4d3a-99f4-f2ac4567d4da" providerId="ADAL" clId="{CFF9C8AC-91C6-4F66-919E-79B541F6FF2E}" dt="2020-07-10T07:19:05.532" v="1232" actId="478"/>
          <ac:cxnSpMkLst>
            <pc:docMk/>
            <pc:sldMk cId="3665884044" sldId="1871"/>
            <ac:cxnSpMk id="7" creationId="{0F2A79BB-2297-416F-AFE9-E49E198BC902}"/>
          </ac:cxnSpMkLst>
        </pc:cxnChg>
        <pc:cxnChg chg="add del mod">
          <ac:chgData name="Bantei Sangma [Chillibreeze]" userId="e7070ce9-26a8-4d3a-99f4-f2ac4567d4da" providerId="ADAL" clId="{CFF9C8AC-91C6-4F66-919E-79B541F6FF2E}" dt="2020-07-10T07:19:05.532" v="1232" actId="478"/>
          <ac:cxnSpMkLst>
            <pc:docMk/>
            <pc:sldMk cId="3665884044" sldId="1871"/>
            <ac:cxnSpMk id="12" creationId="{99F460A7-0D76-4EF7-A762-84FBFD9F57D9}"/>
          </ac:cxnSpMkLst>
        </pc:cxnChg>
        <pc:cxnChg chg="add del mod">
          <ac:chgData name="Bantei Sangma [Chillibreeze]" userId="e7070ce9-26a8-4d3a-99f4-f2ac4567d4da" providerId="ADAL" clId="{CFF9C8AC-91C6-4F66-919E-79B541F6FF2E}" dt="2020-07-10T07:19:05.532" v="1232" actId="478"/>
          <ac:cxnSpMkLst>
            <pc:docMk/>
            <pc:sldMk cId="3665884044" sldId="1871"/>
            <ac:cxnSpMk id="13" creationId="{65C49F65-85A9-4984-9675-58A14BC5A4E0}"/>
          </ac:cxnSpMkLst>
        </pc:cxnChg>
        <pc:cxnChg chg="add del mod">
          <ac:chgData name="Bantei Sangma [Chillibreeze]" userId="e7070ce9-26a8-4d3a-99f4-f2ac4567d4da" providerId="ADAL" clId="{CFF9C8AC-91C6-4F66-919E-79B541F6FF2E}" dt="2020-07-10T07:19:05.532" v="1232" actId="478"/>
          <ac:cxnSpMkLst>
            <pc:docMk/>
            <pc:sldMk cId="3665884044" sldId="1871"/>
            <ac:cxnSpMk id="14" creationId="{2430E1D1-985D-4BE5-ADE9-61ACA3122558}"/>
          </ac:cxnSpMkLst>
        </pc:cxnChg>
        <pc:cxnChg chg="add del mod">
          <ac:chgData name="Bantei Sangma [Chillibreeze]" userId="e7070ce9-26a8-4d3a-99f4-f2ac4567d4da" providerId="ADAL" clId="{CFF9C8AC-91C6-4F66-919E-79B541F6FF2E}" dt="2020-07-10T07:19:05.532" v="1232" actId="478"/>
          <ac:cxnSpMkLst>
            <pc:docMk/>
            <pc:sldMk cId="3665884044" sldId="1871"/>
            <ac:cxnSpMk id="19" creationId="{818BAF78-400C-41A9-B8F8-FEE5F51D9951}"/>
          </ac:cxnSpMkLst>
        </pc:cxnChg>
        <pc:cxnChg chg="add del mod">
          <ac:chgData name="Bantei Sangma [Chillibreeze]" userId="e7070ce9-26a8-4d3a-99f4-f2ac4567d4da" providerId="ADAL" clId="{CFF9C8AC-91C6-4F66-919E-79B541F6FF2E}" dt="2020-07-10T07:19:05.532" v="1232" actId="478"/>
          <ac:cxnSpMkLst>
            <pc:docMk/>
            <pc:sldMk cId="3665884044" sldId="1871"/>
            <ac:cxnSpMk id="20" creationId="{71DD1BF6-C09E-408F-BC1F-6EB0C90CC610}"/>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27" creationId="{7E98C960-8A85-43E8-9A6C-C59486E4E9C9}"/>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28" creationId="{33CA9BED-C15E-4B40-B1C5-C76526203A2C}"/>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29" creationId="{B872C53D-BA20-486C-B96E-0D16B66B85E2}"/>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30" creationId="{BF7E3ADE-E30C-47FE-8834-21FC41443FD6}"/>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31" creationId="{00AA8107-AC6E-481C-8B3B-898399898A0B}"/>
          </ac:cxnSpMkLst>
        </pc:cxnChg>
        <pc:cxnChg chg="add mod">
          <ac:chgData name="Bantei Sangma [Chillibreeze]" userId="e7070ce9-26a8-4d3a-99f4-f2ac4567d4da" providerId="ADAL" clId="{CFF9C8AC-91C6-4F66-919E-79B541F6FF2E}" dt="2020-07-10T07:19:50.548" v="1242" actId="571"/>
          <ac:cxnSpMkLst>
            <pc:docMk/>
            <pc:sldMk cId="3665884044" sldId="1871"/>
            <ac:cxnSpMk id="63" creationId="{5FB4513D-4982-494F-BA89-5438361E8FEA}"/>
          </ac:cxnSpMkLst>
        </pc:cxnChg>
        <pc:cxnChg chg="add mod">
          <ac:chgData name="Bantei Sangma [Chillibreeze]" userId="e7070ce9-26a8-4d3a-99f4-f2ac4567d4da" providerId="ADAL" clId="{CFF9C8AC-91C6-4F66-919E-79B541F6FF2E}" dt="2020-07-10T07:19:50.548" v="1242" actId="571"/>
          <ac:cxnSpMkLst>
            <pc:docMk/>
            <pc:sldMk cId="3665884044" sldId="1871"/>
            <ac:cxnSpMk id="64" creationId="{2A6CEB03-1C97-4FAC-BD8D-7E011091FF80}"/>
          </ac:cxnSpMkLst>
        </pc:cxnChg>
        <pc:cxnChg chg="add mod">
          <ac:chgData name="Bantei Sangma [Chillibreeze]" userId="e7070ce9-26a8-4d3a-99f4-f2ac4567d4da" providerId="ADAL" clId="{CFF9C8AC-91C6-4F66-919E-79B541F6FF2E}" dt="2020-07-10T07:19:50.548" v="1242" actId="571"/>
          <ac:cxnSpMkLst>
            <pc:docMk/>
            <pc:sldMk cId="3665884044" sldId="1871"/>
            <ac:cxnSpMk id="65" creationId="{066D0E98-50DA-48AA-8C7A-7F3EECB8840A}"/>
          </ac:cxnSpMkLst>
        </pc:cxnChg>
        <pc:cxnChg chg="add mod">
          <ac:chgData name="Bantei Sangma [Chillibreeze]" userId="e7070ce9-26a8-4d3a-99f4-f2ac4567d4da" providerId="ADAL" clId="{CFF9C8AC-91C6-4F66-919E-79B541F6FF2E}" dt="2020-07-10T07:19:50.548" v="1242" actId="571"/>
          <ac:cxnSpMkLst>
            <pc:docMk/>
            <pc:sldMk cId="3665884044" sldId="1871"/>
            <ac:cxnSpMk id="66" creationId="{6DB10650-909E-437D-89CC-30783910CB56}"/>
          </ac:cxnSpMkLst>
        </pc:cxnChg>
        <pc:cxnChg chg="add mod">
          <ac:chgData name="Bantei Sangma [Chillibreeze]" userId="e7070ce9-26a8-4d3a-99f4-f2ac4567d4da" providerId="ADAL" clId="{CFF9C8AC-91C6-4F66-919E-79B541F6FF2E}" dt="2020-07-10T07:19:50.548" v="1242" actId="571"/>
          <ac:cxnSpMkLst>
            <pc:docMk/>
            <pc:sldMk cId="3665884044" sldId="1871"/>
            <ac:cxnSpMk id="67" creationId="{E2EE7A62-E685-448E-8B2F-F74CEB4F283F}"/>
          </ac:cxnSpMkLst>
        </pc:cxnChg>
        <pc:cxnChg chg="add mod topLvl">
          <ac:chgData name="Bantei Sangma [Chillibreeze]" userId="e7070ce9-26a8-4d3a-99f4-f2ac4567d4da" providerId="ADAL" clId="{CFF9C8AC-91C6-4F66-919E-79B541F6FF2E}" dt="2020-07-10T11:01:14.297" v="3671" actId="692"/>
          <ac:cxnSpMkLst>
            <pc:docMk/>
            <pc:sldMk cId="3665884044" sldId="1871"/>
            <ac:cxnSpMk id="98" creationId="{8FE4C09C-68AC-426A-ADBA-944C43EB9B32}"/>
          </ac:cxnSpMkLst>
        </pc:cxnChg>
      </pc:sldChg>
      <pc:sldChg chg="del">
        <pc:chgData name="Bantei Sangma [Chillibreeze]" userId="e7070ce9-26a8-4d3a-99f4-f2ac4567d4da" providerId="ADAL" clId="{CFF9C8AC-91C6-4F66-919E-79B541F6FF2E}" dt="2020-07-10T08:38:46.430" v="1927" actId="47"/>
        <pc:sldMkLst>
          <pc:docMk/>
          <pc:sldMk cId="2176315051" sldId="1873"/>
        </pc:sldMkLst>
      </pc:sldChg>
      <pc:sldChg chg="del">
        <pc:chgData name="Bantei Sangma [Chillibreeze]" userId="e7070ce9-26a8-4d3a-99f4-f2ac4567d4da" providerId="ADAL" clId="{CFF9C8AC-91C6-4F66-919E-79B541F6FF2E}" dt="2020-07-10T08:38:46.430" v="1927" actId="47"/>
        <pc:sldMkLst>
          <pc:docMk/>
          <pc:sldMk cId="2983777651" sldId="1876"/>
        </pc:sldMkLst>
      </pc:sldChg>
      <pc:sldChg chg="del">
        <pc:chgData name="Bantei Sangma [Chillibreeze]" userId="e7070ce9-26a8-4d3a-99f4-f2ac4567d4da" providerId="ADAL" clId="{CFF9C8AC-91C6-4F66-919E-79B541F6FF2E}" dt="2020-07-10T08:38:46.430" v="1927" actId="47"/>
        <pc:sldMkLst>
          <pc:docMk/>
          <pc:sldMk cId="1750585481" sldId="1878"/>
        </pc:sldMkLst>
      </pc:sldChg>
      <pc:sldChg chg="addSp modSp mod">
        <pc:chgData name="Bantei Sangma [Chillibreeze]" userId="e7070ce9-26a8-4d3a-99f4-f2ac4567d4da" providerId="ADAL" clId="{CFF9C8AC-91C6-4F66-919E-79B541F6FF2E}" dt="2020-07-10T09:28:58.244" v="2752" actId="1076"/>
        <pc:sldMkLst>
          <pc:docMk/>
          <pc:sldMk cId="2969652716" sldId="1909"/>
        </pc:sldMkLst>
        <pc:picChg chg="add mod">
          <ac:chgData name="Bantei Sangma [Chillibreeze]" userId="e7070ce9-26a8-4d3a-99f4-f2ac4567d4da" providerId="ADAL" clId="{CFF9C8AC-91C6-4F66-919E-79B541F6FF2E}" dt="2020-07-10T09:28:58.244" v="2752" actId="1076"/>
          <ac:picMkLst>
            <pc:docMk/>
            <pc:sldMk cId="2969652716" sldId="1909"/>
            <ac:picMk id="3" creationId="{E318A819-CFD2-4CDE-967A-FF80F1397F3D}"/>
          </ac:picMkLst>
        </pc:picChg>
      </pc:sldChg>
      <pc:sldChg chg="addSp delSp modSp mod modClrScheme chgLayout">
        <pc:chgData name="Bantei Sangma [Chillibreeze]" userId="e7070ce9-26a8-4d3a-99f4-f2ac4567d4da" providerId="ADAL" clId="{CFF9C8AC-91C6-4F66-919E-79B541F6FF2E}" dt="2020-07-10T10:41:03.996" v="3532"/>
        <pc:sldMkLst>
          <pc:docMk/>
          <pc:sldMk cId="896466654" sldId="1911"/>
        </pc:sldMkLst>
        <pc:spChg chg="mod ord">
          <ac:chgData name="Bantei Sangma [Chillibreeze]" userId="e7070ce9-26a8-4d3a-99f4-f2ac4567d4da" providerId="ADAL" clId="{CFF9C8AC-91C6-4F66-919E-79B541F6FF2E}" dt="2020-07-10T09:46:38.614" v="2944"/>
          <ac:spMkLst>
            <pc:docMk/>
            <pc:sldMk cId="896466654" sldId="1911"/>
            <ac:spMk id="2" creationId="{544A83E9-9D3F-4D27-92C5-3271240ED3D2}"/>
          </ac:spMkLst>
        </pc:spChg>
        <pc:spChg chg="add del mod ord">
          <ac:chgData name="Bantei Sangma [Chillibreeze]" userId="e7070ce9-26a8-4d3a-99f4-f2ac4567d4da" providerId="ADAL" clId="{CFF9C8AC-91C6-4F66-919E-79B541F6FF2E}" dt="2020-07-10T09:46:38.614" v="2944"/>
          <ac:spMkLst>
            <pc:docMk/>
            <pc:sldMk cId="896466654" sldId="1911"/>
            <ac:spMk id="3" creationId="{DD47715C-924B-4CAD-A258-02EBAC5E4255}"/>
          </ac:spMkLst>
        </pc:spChg>
        <pc:spChg chg="add del mod">
          <ac:chgData name="Bantei Sangma [Chillibreeze]" userId="e7070ce9-26a8-4d3a-99f4-f2ac4567d4da" providerId="ADAL" clId="{CFF9C8AC-91C6-4F66-919E-79B541F6FF2E}" dt="2020-07-10T09:46:38.614" v="2944"/>
          <ac:spMkLst>
            <pc:docMk/>
            <pc:sldMk cId="896466654" sldId="1911"/>
            <ac:spMk id="4" creationId="{BAD1766C-63EA-4A77-A48A-E0D7781CDCFB}"/>
          </ac:spMkLst>
        </pc:spChg>
        <pc:spChg chg="add del mod">
          <ac:chgData name="Bantei Sangma [Chillibreeze]" userId="e7070ce9-26a8-4d3a-99f4-f2ac4567d4da" providerId="ADAL" clId="{CFF9C8AC-91C6-4F66-919E-79B541F6FF2E}" dt="2020-07-10T10:36:12.963" v="3518" actId="478"/>
          <ac:spMkLst>
            <pc:docMk/>
            <pc:sldMk cId="896466654" sldId="1911"/>
            <ac:spMk id="5" creationId="{697B83B9-D677-4A69-9F00-31AE98C26003}"/>
          </ac:spMkLst>
        </pc:spChg>
        <pc:spChg chg="add del mod">
          <ac:chgData name="Bantei Sangma [Chillibreeze]" userId="e7070ce9-26a8-4d3a-99f4-f2ac4567d4da" providerId="ADAL" clId="{CFF9C8AC-91C6-4F66-919E-79B541F6FF2E}" dt="2020-07-10T10:41:03.996" v="3532"/>
          <ac:spMkLst>
            <pc:docMk/>
            <pc:sldMk cId="896466654" sldId="1911"/>
            <ac:spMk id="6" creationId="{8A9AA94F-D3FC-4A69-BFA5-4EE42447E1F1}"/>
          </ac:spMkLst>
        </pc:spChg>
      </pc:sldChg>
      <pc:sldChg chg="addSp modSp mod">
        <pc:chgData name="Bantei Sangma [Chillibreeze]" userId="e7070ce9-26a8-4d3a-99f4-f2ac4567d4da" providerId="ADAL" clId="{CFF9C8AC-91C6-4F66-919E-79B541F6FF2E}" dt="2020-07-10T09:51:28.837" v="2956" actId="1076"/>
        <pc:sldMkLst>
          <pc:docMk/>
          <pc:sldMk cId="3198846091" sldId="1912"/>
        </pc:sldMkLst>
        <pc:picChg chg="add mod">
          <ac:chgData name="Bantei Sangma [Chillibreeze]" userId="e7070ce9-26a8-4d3a-99f4-f2ac4567d4da" providerId="ADAL" clId="{CFF9C8AC-91C6-4F66-919E-79B541F6FF2E}" dt="2020-07-10T09:51:28.837" v="2956" actId="1076"/>
          <ac:picMkLst>
            <pc:docMk/>
            <pc:sldMk cId="3198846091" sldId="1912"/>
            <ac:picMk id="3" creationId="{F6DA0743-00B1-4C27-8265-AABACB262B70}"/>
          </ac:picMkLst>
        </pc:picChg>
      </pc:sldChg>
      <pc:sldChg chg="addSp modSp mod">
        <pc:chgData name="Bantei Sangma [Chillibreeze]" userId="e7070ce9-26a8-4d3a-99f4-f2ac4567d4da" providerId="ADAL" clId="{CFF9C8AC-91C6-4F66-919E-79B541F6FF2E}" dt="2020-07-10T09:53:31.365" v="2969" actId="1076"/>
        <pc:sldMkLst>
          <pc:docMk/>
          <pc:sldMk cId="2110664733" sldId="1913"/>
        </pc:sldMkLst>
        <pc:picChg chg="add mod">
          <ac:chgData name="Bantei Sangma [Chillibreeze]" userId="e7070ce9-26a8-4d3a-99f4-f2ac4567d4da" providerId="ADAL" clId="{CFF9C8AC-91C6-4F66-919E-79B541F6FF2E}" dt="2020-07-10T09:53:31.365" v="2969" actId="1076"/>
          <ac:picMkLst>
            <pc:docMk/>
            <pc:sldMk cId="2110664733" sldId="1913"/>
            <ac:picMk id="3" creationId="{FBC62EC8-76CE-436F-8130-5BEA7702D094}"/>
          </ac:picMkLst>
        </pc:picChg>
      </pc:sldChg>
      <pc:sldChg chg="addSp delSp modSp del mod modShow">
        <pc:chgData name="Bantei Sangma [Chillibreeze]" userId="e7070ce9-26a8-4d3a-99f4-f2ac4567d4da" providerId="ADAL" clId="{CFF9C8AC-91C6-4F66-919E-79B541F6FF2E}" dt="2020-07-10T09:02:32.321" v="2381" actId="47"/>
        <pc:sldMkLst>
          <pc:docMk/>
          <pc:sldMk cId="2066525541" sldId="1914"/>
        </pc:sldMkLst>
        <pc:spChg chg="mod">
          <ac:chgData name="Bantei Sangma [Chillibreeze]" userId="e7070ce9-26a8-4d3a-99f4-f2ac4567d4da" providerId="ADAL" clId="{CFF9C8AC-91C6-4F66-919E-79B541F6FF2E}" dt="2020-07-10T08:46:44.989" v="1966" actId="552"/>
          <ac:spMkLst>
            <pc:docMk/>
            <pc:sldMk cId="2066525541" sldId="1914"/>
            <ac:spMk id="2" creationId="{8B7D2504-CD52-4530-95A0-64324BCD7B4B}"/>
          </ac:spMkLst>
        </pc:spChg>
        <pc:spChg chg="add mod">
          <ac:chgData name="Bantei Sangma [Chillibreeze]" userId="e7070ce9-26a8-4d3a-99f4-f2ac4567d4da" providerId="ADAL" clId="{CFF9C8AC-91C6-4F66-919E-79B541F6FF2E}" dt="2020-07-10T08:46:04.940" v="1955" actId="1076"/>
          <ac:spMkLst>
            <pc:docMk/>
            <pc:sldMk cId="2066525541" sldId="1914"/>
            <ac:spMk id="3" creationId="{A66B29F5-8CFF-4DB9-AFEC-546946435B8F}"/>
          </ac:spMkLst>
        </pc:spChg>
        <pc:spChg chg="add del mod">
          <ac:chgData name="Bantei Sangma [Chillibreeze]" userId="e7070ce9-26a8-4d3a-99f4-f2ac4567d4da" providerId="ADAL" clId="{CFF9C8AC-91C6-4F66-919E-79B541F6FF2E}" dt="2020-07-10T07:15:19.395" v="1192" actId="478"/>
          <ac:spMkLst>
            <pc:docMk/>
            <pc:sldMk cId="2066525541" sldId="1914"/>
            <ac:spMk id="4" creationId="{34663425-E83E-41CA-82B9-4F7326174CED}"/>
          </ac:spMkLst>
        </pc:spChg>
        <pc:spChg chg="add mod">
          <ac:chgData name="Bantei Sangma [Chillibreeze]" userId="e7070ce9-26a8-4d3a-99f4-f2ac4567d4da" providerId="ADAL" clId="{CFF9C8AC-91C6-4F66-919E-79B541F6FF2E}" dt="2020-07-10T08:47:48.508" v="1985" actId="14100"/>
          <ac:spMkLst>
            <pc:docMk/>
            <pc:sldMk cId="2066525541" sldId="1914"/>
            <ac:spMk id="5" creationId="{5218CEFF-5AE7-4580-BBBA-7F13632FC6AC}"/>
          </ac:spMkLst>
        </pc:spChg>
        <pc:spChg chg="add del mod">
          <ac:chgData name="Bantei Sangma [Chillibreeze]" userId="e7070ce9-26a8-4d3a-99f4-f2ac4567d4da" providerId="ADAL" clId="{CFF9C8AC-91C6-4F66-919E-79B541F6FF2E}" dt="2020-07-10T08:45:45.756" v="1945"/>
          <ac:spMkLst>
            <pc:docMk/>
            <pc:sldMk cId="2066525541" sldId="1914"/>
            <ac:spMk id="7" creationId="{E5318830-00F0-45EF-B5E8-A8DCA2E3C995}"/>
          </ac:spMkLst>
        </pc:spChg>
        <pc:spChg chg="add del mod">
          <ac:chgData name="Bantei Sangma [Chillibreeze]" userId="e7070ce9-26a8-4d3a-99f4-f2ac4567d4da" providerId="ADAL" clId="{CFF9C8AC-91C6-4F66-919E-79B541F6FF2E}" dt="2020-07-10T08:45:45.756" v="1945"/>
          <ac:spMkLst>
            <pc:docMk/>
            <pc:sldMk cId="2066525541" sldId="1914"/>
            <ac:spMk id="9" creationId="{1D9A1CE3-EDC2-4E65-B403-B7CC1F20E7E8}"/>
          </ac:spMkLst>
        </pc:spChg>
        <pc:spChg chg="add del mod">
          <ac:chgData name="Bantei Sangma [Chillibreeze]" userId="e7070ce9-26a8-4d3a-99f4-f2ac4567d4da" providerId="ADAL" clId="{CFF9C8AC-91C6-4F66-919E-79B541F6FF2E}" dt="2020-07-10T08:45:45.756" v="1945"/>
          <ac:spMkLst>
            <pc:docMk/>
            <pc:sldMk cId="2066525541" sldId="1914"/>
            <ac:spMk id="12" creationId="{94EC36EB-0140-46C7-A126-FDA9365A3CD4}"/>
          </ac:spMkLst>
        </pc:spChg>
        <pc:spChg chg="add del mod">
          <ac:chgData name="Bantei Sangma [Chillibreeze]" userId="e7070ce9-26a8-4d3a-99f4-f2ac4567d4da" providerId="ADAL" clId="{CFF9C8AC-91C6-4F66-919E-79B541F6FF2E}" dt="2020-07-10T08:45:45.756" v="1945"/>
          <ac:spMkLst>
            <pc:docMk/>
            <pc:sldMk cId="2066525541" sldId="1914"/>
            <ac:spMk id="14" creationId="{8B19481A-A8EC-47EE-BADB-A629C8B70496}"/>
          </ac:spMkLst>
        </pc:spChg>
        <pc:spChg chg="add mod topLvl">
          <ac:chgData name="Bantei Sangma [Chillibreeze]" userId="e7070ce9-26a8-4d3a-99f4-f2ac4567d4da" providerId="ADAL" clId="{CFF9C8AC-91C6-4F66-919E-79B541F6FF2E}" dt="2020-07-10T08:47:51.556" v="1986" actId="1076"/>
          <ac:spMkLst>
            <pc:docMk/>
            <pc:sldMk cId="2066525541" sldId="1914"/>
            <ac:spMk id="19" creationId="{B2E026DF-BC43-49E3-A2D4-98D94AE3ED9B}"/>
          </ac:spMkLst>
        </pc:spChg>
        <pc:spChg chg="add mod topLvl">
          <ac:chgData name="Bantei Sangma [Chillibreeze]" userId="e7070ce9-26a8-4d3a-99f4-f2ac4567d4da" providerId="ADAL" clId="{CFF9C8AC-91C6-4F66-919E-79B541F6FF2E}" dt="2020-07-10T08:47:51.556" v="1986" actId="1076"/>
          <ac:spMkLst>
            <pc:docMk/>
            <pc:sldMk cId="2066525541" sldId="1914"/>
            <ac:spMk id="21" creationId="{9F6ED548-05AE-431D-B1DD-50C21DE36ACA}"/>
          </ac:spMkLst>
        </pc:spChg>
        <pc:spChg chg="add mod topLvl">
          <ac:chgData name="Bantei Sangma [Chillibreeze]" userId="e7070ce9-26a8-4d3a-99f4-f2ac4567d4da" providerId="ADAL" clId="{CFF9C8AC-91C6-4F66-919E-79B541F6FF2E}" dt="2020-07-10T08:47:51.556" v="1986" actId="1076"/>
          <ac:spMkLst>
            <pc:docMk/>
            <pc:sldMk cId="2066525541" sldId="1914"/>
            <ac:spMk id="24" creationId="{CA8C08A1-482A-4CD6-A533-F56EB17AD84D}"/>
          </ac:spMkLst>
        </pc:spChg>
        <pc:spChg chg="add mod topLvl">
          <ac:chgData name="Bantei Sangma [Chillibreeze]" userId="e7070ce9-26a8-4d3a-99f4-f2ac4567d4da" providerId="ADAL" clId="{CFF9C8AC-91C6-4F66-919E-79B541F6FF2E}" dt="2020-07-10T08:47:51.556" v="1986" actId="1076"/>
          <ac:spMkLst>
            <pc:docMk/>
            <pc:sldMk cId="2066525541" sldId="1914"/>
            <ac:spMk id="26" creationId="{7298D123-CA99-4FE7-87BA-E40C2C3E3AB4}"/>
          </ac:spMkLst>
        </pc:spChg>
        <pc:grpChg chg="add del mod">
          <ac:chgData name="Bantei Sangma [Chillibreeze]" userId="e7070ce9-26a8-4d3a-99f4-f2ac4567d4da" providerId="ADAL" clId="{CFF9C8AC-91C6-4F66-919E-79B541F6FF2E}" dt="2020-07-10T08:46:22.529" v="1961" actId="165"/>
          <ac:grpSpMkLst>
            <pc:docMk/>
            <pc:sldMk cId="2066525541" sldId="1914"/>
            <ac:grpSpMk id="30" creationId="{D9ADF582-3996-4C59-B5D9-15447D212C8C}"/>
          </ac:grpSpMkLst>
        </pc:grpChg>
        <pc:grpChg chg="add del mod">
          <ac:chgData name="Bantei Sangma [Chillibreeze]" userId="e7070ce9-26a8-4d3a-99f4-f2ac4567d4da" providerId="ADAL" clId="{CFF9C8AC-91C6-4F66-919E-79B541F6FF2E}" dt="2020-07-10T08:46:31.590" v="1964" actId="165"/>
          <ac:grpSpMkLst>
            <pc:docMk/>
            <pc:sldMk cId="2066525541" sldId="1914"/>
            <ac:grpSpMk id="31" creationId="{263B46ED-1813-49DD-8A18-F2D44D5C8421}"/>
          </ac:grpSpMkLst>
        </pc:grpChg>
        <pc:picChg chg="add del mod">
          <ac:chgData name="Bantei Sangma [Chillibreeze]" userId="e7070ce9-26a8-4d3a-99f4-f2ac4567d4da" providerId="ADAL" clId="{CFF9C8AC-91C6-4F66-919E-79B541F6FF2E}" dt="2020-07-10T08:45:45.756" v="1945"/>
          <ac:picMkLst>
            <pc:docMk/>
            <pc:sldMk cId="2066525541" sldId="1914"/>
            <ac:picMk id="6" creationId="{3F894132-568A-4548-BA60-89AC1DD8AD2E}"/>
          </ac:picMkLst>
        </pc:picChg>
        <pc:picChg chg="add del mod">
          <ac:chgData name="Bantei Sangma [Chillibreeze]" userId="e7070ce9-26a8-4d3a-99f4-f2ac4567d4da" providerId="ADAL" clId="{CFF9C8AC-91C6-4F66-919E-79B541F6FF2E}" dt="2020-07-10T08:45:45.756" v="1945"/>
          <ac:picMkLst>
            <pc:docMk/>
            <pc:sldMk cId="2066525541" sldId="1914"/>
            <ac:picMk id="8" creationId="{F4ECB11E-BCF7-4098-98C1-4D94D022690B}"/>
          </ac:picMkLst>
        </pc:picChg>
        <pc:picChg chg="add del mod">
          <ac:chgData name="Bantei Sangma [Chillibreeze]" userId="e7070ce9-26a8-4d3a-99f4-f2ac4567d4da" providerId="ADAL" clId="{CFF9C8AC-91C6-4F66-919E-79B541F6FF2E}" dt="2020-07-10T08:45:45.756" v="1945"/>
          <ac:picMkLst>
            <pc:docMk/>
            <pc:sldMk cId="2066525541" sldId="1914"/>
            <ac:picMk id="11" creationId="{BA392926-16E6-4DA0-A2CD-80A81D5BF87A}"/>
          </ac:picMkLst>
        </pc:picChg>
        <pc:picChg chg="add del mod">
          <ac:chgData name="Bantei Sangma [Chillibreeze]" userId="e7070ce9-26a8-4d3a-99f4-f2ac4567d4da" providerId="ADAL" clId="{CFF9C8AC-91C6-4F66-919E-79B541F6FF2E}" dt="2020-07-10T08:45:45.756" v="1945"/>
          <ac:picMkLst>
            <pc:docMk/>
            <pc:sldMk cId="2066525541" sldId="1914"/>
            <ac:picMk id="13" creationId="{89DD1FAF-ED08-49BE-A9E7-08684D1B036E}"/>
          </ac:picMkLst>
        </pc:picChg>
        <pc:picChg chg="add mod topLvl">
          <ac:chgData name="Bantei Sangma [Chillibreeze]" userId="e7070ce9-26a8-4d3a-99f4-f2ac4567d4da" providerId="ADAL" clId="{CFF9C8AC-91C6-4F66-919E-79B541F6FF2E}" dt="2020-07-10T08:47:51.556" v="1986" actId="1076"/>
          <ac:picMkLst>
            <pc:docMk/>
            <pc:sldMk cId="2066525541" sldId="1914"/>
            <ac:picMk id="18" creationId="{385972D2-6E60-4784-B52A-35DF6EEE12BF}"/>
          </ac:picMkLst>
        </pc:picChg>
        <pc:picChg chg="add mod topLvl">
          <ac:chgData name="Bantei Sangma [Chillibreeze]" userId="e7070ce9-26a8-4d3a-99f4-f2ac4567d4da" providerId="ADAL" clId="{CFF9C8AC-91C6-4F66-919E-79B541F6FF2E}" dt="2020-07-10T08:47:51.556" v="1986" actId="1076"/>
          <ac:picMkLst>
            <pc:docMk/>
            <pc:sldMk cId="2066525541" sldId="1914"/>
            <ac:picMk id="20" creationId="{B7CFE8AA-7A7E-4C78-951C-713FC860D17E}"/>
          </ac:picMkLst>
        </pc:picChg>
        <pc:picChg chg="add mod topLvl">
          <ac:chgData name="Bantei Sangma [Chillibreeze]" userId="e7070ce9-26a8-4d3a-99f4-f2ac4567d4da" providerId="ADAL" clId="{CFF9C8AC-91C6-4F66-919E-79B541F6FF2E}" dt="2020-07-10T08:47:51.556" v="1986" actId="1076"/>
          <ac:picMkLst>
            <pc:docMk/>
            <pc:sldMk cId="2066525541" sldId="1914"/>
            <ac:picMk id="23" creationId="{17F625A0-D926-4B12-86D8-0539BF1A453B}"/>
          </ac:picMkLst>
        </pc:picChg>
        <pc:picChg chg="add mod topLvl">
          <ac:chgData name="Bantei Sangma [Chillibreeze]" userId="e7070ce9-26a8-4d3a-99f4-f2ac4567d4da" providerId="ADAL" clId="{CFF9C8AC-91C6-4F66-919E-79B541F6FF2E}" dt="2020-07-10T08:47:51.556" v="1986" actId="1076"/>
          <ac:picMkLst>
            <pc:docMk/>
            <pc:sldMk cId="2066525541" sldId="1914"/>
            <ac:picMk id="25" creationId="{123AAC8C-6020-4FB8-BB5A-F157B7C31F6F}"/>
          </ac:picMkLst>
        </pc:picChg>
        <pc:cxnChg chg="add del mod">
          <ac:chgData name="Bantei Sangma [Chillibreeze]" userId="e7070ce9-26a8-4d3a-99f4-f2ac4567d4da" providerId="ADAL" clId="{CFF9C8AC-91C6-4F66-919E-79B541F6FF2E}" dt="2020-07-10T08:45:45.756" v="1945"/>
          <ac:cxnSpMkLst>
            <pc:docMk/>
            <pc:sldMk cId="2066525541" sldId="1914"/>
            <ac:cxnSpMk id="10" creationId="{0627C4B4-F260-4B96-A03F-938ECB932C9C}"/>
          </ac:cxnSpMkLst>
        </pc:cxnChg>
        <pc:cxnChg chg="add del mod">
          <ac:chgData name="Bantei Sangma [Chillibreeze]" userId="e7070ce9-26a8-4d3a-99f4-f2ac4567d4da" providerId="ADAL" clId="{CFF9C8AC-91C6-4F66-919E-79B541F6FF2E}" dt="2020-07-10T08:45:45.756" v="1945"/>
          <ac:cxnSpMkLst>
            <pc:docMk/>
            <pc:sldMk cId="2066525541" sldId="1914"/>
            <ac:cxnSpMk id="15" creationId="{3C8570DD-7827-4C3D-9CBA-091BBCCF107A}"/>
          </ac:cxnSpMkLst>
        </pc:cxnChg>
        <pc:cxnChg chg="add del mod">
          <ac:chgData name="Bantei Sangma [Chillibreeze]" userId="e7070ce9-26a8-4d3a-99f4-f2ac4567d4da" providerId="ADAL" clId="{CFF9C8AC-91C6-4F66-919E-79B541F6FF2E}" dt="2020-07-10T08:45:45.756" v="1945"/>
          <ac:cxnSpMkLst>
            <pc:docMk/>
            <pc:sldMk cId="2066525541" sldId="1914"/>
            <ac:cxnSpMk id="16" creationId="{08E3E01C-E53D-4AD0-8935-B49D71C4E2E7}"/>
          </ac:cxnSpMkLst>
        </pc:cxnChg>
        <pc:cxnChg chg="add del mod">
          <ac:chgData name="Bantei Sangma [Chillibreeze]" userId="e7070ce9-26a8-4d3a-99f4-f2ac4567d4da" providerId="ADAL" clId="{CFF9C8AC-91C6-4F66-919E-79B541F6FF2E}" dt="2020-07-10T08:45:45.756" v="1945"/>
          <ac:cxnSpMkLst>
            <pc:docMk/>
            <pc:sldMk cId="2066525541" sldId="1914"/>
            <ac:cxnSpMk id="17" creationId="{1FEF1823-2D28-47AD-B276-8F5C02CC2BC0}"/>
          </ac:cxnSpMkLst>
        </pc:cxnChg>
        <pc:cxnChg chg="add mod topLvl">
          <ac:chgData name="Bantei Sangma [Chillibreeze]" userId="e7070ce9-26a8-4d3a-99f4-f2ac4567d4da" providerId="ADAL" clId="{CFF9C8AC-91C6-4F66-919E-79B541F6FF2E}" dt="2020-07-10T08:46:31.590" v="1964" actId="165"/>
          <ac:cxnSpMkLst>
            <pc:docMk/>
            <pc:sldMk cId="2066525541" sldId="1914"/>
            <ac:cxnSpMk id="22" creationId="{82BDA794-03C1-48F2-B95E-0BEF8A3AABAE}"/>
          </ac:cxnSpMkLst>
        </pc:cxnChg>
        <pc:cxnChg chg="add mod topLvl">
          <ac:chgData name="Bantei Sangma [Chillibreeze]" userId="e7070ce9-26a8-4d3a-99f4-f2ac4567d4da" providerId="ADAL" clId="{CFF9C8AC-91C6-4F66-919E-79B541F6FF2E}" dt="2020-07-10T08:46:31.590" v="1964" actId="165"/>
          <ac:cxnSpMkLst>
            <pc:docMk/>
            <pc:sldMk cId="2066525541" sldId="1914"/>
            <ac:cxnSpMk id="27" creationId="{60271B3E-1577-4DE7-AAD2-33109474747D}"/>
          </ac:cxnSpMkLst>
        </pc:cxnChg>
        <pc:cxnChg chg="add mod topLvl">
          <ac:chgData name="Bantei Sangma [Chillibreeze]" userId="e7070ce9-26a8-4d3a-99f4-f2ac4567d4da" providerId="ADAL" clId="{CFF9C8AC-91C6-4F66-919E-79B541F6FF2E}" dt="2020-07-10T08:46:31.590" v="1964" actId="165"/>
          <ac:cxnSpMkLst>
            <pc:docMk/>
            <pc:sldMk cId="2066525541" sldId="1914"/>
            <ac:cxnSpMk id="28" creationId="{B757CD3D-D228-4FC1-95CF-90A3D7D7BE2E}"/>
          </ac:cxnSpMkLst>
        </pc:cxnChg>
        <pc:cxnChg chg="add mod topLvl">
          <ac:chgData name="Bantei Sangma [Chillibreeze]" userId="e7070ce9-26a8-4d3a-99f4-f2ac4567d4da" providerId="ADAL" clId="{CFF9C8AC-91C6-4F66-919E-79B541F6FF2E}" dt="2020-07-10T08:46:31.590" v="1964" actId="165"/>
          <ac:cxnSpMkLst>
            <pc:docMk/>
            <pc:sldMk cId="2066525541" sldId="1914"/>
            <ac:cxnSpMk id="29" creationId="{C593B1A8-2620-4A68-B908-8B2001AD0C0C}"/>
          </ac:cxnSpMkLst>
        </pc:cxnChg>
      </pc:sldChg>
      <pc:sldChg chg="addSp delSp modSp mod">
        <pc:chgData name="Bantei Sangma [Chillibreeze]" userId="e7070ce9-26a8-4d3a-99f4-f2ac4567d4da" providerId="ADAL" clId="{CFF9C8AC-91C6-4F66-919E-79B541F6FF2E}" dt="2020-07-10T11:29:22.322" v="4478" actId="207"/>
        <pc:sldMkLst>
          <pc:docMk/>
          <pc:sldMk cId="2122675882" sldId="1915"/>
        </pc:sldMkLst>
        <pc:spChg chg="add del mod">
          <ac:chgData name="Bantei Sangma [Chillibreeze]" userId="e7070ce9-26a8-4d3a-99f4-f2ac4567d4da" providerId="ADAL" clId="{CFF9C8AC-91C6-4F66-919E-79B541F6FF2E}" dt="2020-07-10T06:17:46.355" v="351" actId="478"/>
          <ac:spMkLst>
            <pc:docMk/>
            <pc:sldMk cId="2122675882" sldId="1915"/>
            <ac:spMk id="4" creationId="{47743B87-72AF-4777-B75D-33A08AF2836B}"/>
          </ac:spMkLst>
        </pc:spChg>
        <pc:spChg chg="add del mod">
          <ac:chgData name="Bantei Sangma [Chillibreeze]" userId="e7070ce9-26a8-4d3a-99f4-f2ac4567d4da" providerId="ADAL" clId="{CFF9C8AC-91C6-4F66-919E-79B541F6FF2E}" dt="2020-07-10T10:07:06.547" v="3462" actId="478"/>
          <ac:spMkLst>
            <pc:docMk/>
            <pc:sldMk cId="2122675882" sldId="1915"/>
            <ac:spMk id="6" creationId="{6F471053-BA03-4739-BE89-1AA0912409B8}"/>
          </ac:spMkLst>
        </pc:spChg>
        <pc:spChg chg="add del mod">
          <ac:chgData name="Bantei Sangma [Chillibreeze]" userId="e7070ce9-26a8-4d3a-99f4-f2ac4567d4da" providerId="ADAL" clId="{CFF9C8AC-91C6-4F66-919E-79B541F6FF2E}" dt="2020-07-10T11:08:56.144" v="3708" actId="478"/>
          <ac:spMkLst>
            <pc:docMk/>
            <pc:sldMk cId="2122675882" sldId="1915"/>
            <ac:spMk id="7" creationId="{2A63B56E-EE26-4F6E-874E-968B8497AB5C}"/>
          </ac:spMkLst>
        </pc:spChg>
        <pc:spChg chg="add mod">
          <ac:chgData name="Bantei Sangma [Chillibreeze]" userId="e7070ce9-26a8-4d3a-99f4-f2ac4567d4da" providerId="ADAL" clId="{CFF9C8AC-91C6-4F66-919E-79B541F6FF2E}" dt="2020-07-10T11:29:22.322" v="4478" actId="207"/>
          <ac:spMkLst>
            <pc:docMk/>
            <pc:sldMk cId="2122675882" sldId="1915"/>
            <ac:spMk id="10" creationId="{3C7DD12B-9E6E-4004-8BFF-9FD28375435C}"/>
          </ac:spMkLst>
        </pc:spChg>
        <pc:spChg chg="add mod">
          <ac:chgData name="Bantei Sangma [Chillibreeze]" userId="e7070ce9-26a8-4d3a-99f4-f2ac4567d4da" providerId="ADAL" clId="{CFF9C8AC-91C6-4F66-919E-79B541F6FF2E}" dt="2020-07-10T11:09:07.208" v="3710" actId="948"/>
          <ac:spMkLst>
            <pc:docMk/>
            <pc:sldMk cId="2122675882" sldId="1915"/>
            <ac:spMk id="11" creationId="{391D3521-4F20-4F43-8CEB-FE403318D1E6}"/>
          </ac:spMkLst>
        </pc:spChg>
        <pc:picChg chg="add del mod">
          <ac:chgData name="Bantei Sangma [Chillibreeze]" userId="e7070ce9-26a8-4d3a-99f4-f2ac4567d4da" providerId="ADAL" clId="{CFF9C8AC-91C6-4F66-919E-79B541F6FF2E}" dt="2020-07-10T10:07:06.547" v="3462" actId="478"/>
          <ac:picMkLst>
            <pc:docMk/>
            <pc:sldMk cId="2122675882" sldId="1915"/>
            <ac:picMk id="5" creationId="{B6C0ADD4-482E-439F-BDAD-B29D9D9859FD}"/>
          </ac:picMkLst>
        </pc:picChg>
        <pc:picChg chg="add mod ord">
          <ac:chgData name="Bantei Sangma [Chillibreeze]" userId="e7070ce9-26a8-4d3a-99f4-f2ac4567d4da" providerId="ADAL" clId="{CFF9C8AC-91C6-4F66-919E-79B541F6FF2E}" dt="2020-07-10T10:06:50.500" v="3453" actId="1076"/>
          <ac:picMkLst>
            <pc:docMk/>
            <pc:sldMk cId="2122675882" sldId="1915"/>
            <ac:picMk id="8" creationId="{2AE6BE01-1290-4DB3-81E4-42EA335C3AC3}"/>
          </ac:picMkLst>
        </pc:picChg>
        <pc:picChg chg="add mod">
          <ac:chgData name="Bantei Sangma [Chillibreeze]" userId="e7070ce9-26a8-4d3a-99f4-f2ac4567d4da" providerId="ADAL" clId="{CFF9C8AC-91C6-4F66-919E-79B541F6FF2E}" dt="2020-07-10T10:06:42.243" v="3450"/>
          <ac:picMkLst>
            <pc:docMk/>
            <pc:sldMk cId="2122675882" sldId="1915"/>
            <ac:picMk id="9" creationId="{3F4A1328-5ECB-48CC-9568-838CA19DF75E}"/>
          </ac:picMkLst>
        </pc:picChg>
      </pc:sldChg>
      <pc:sldChg chg="addSp delSp modSp mod">
        <pc:chgData name="Bantei Sangma [Chillibreeze]" userId="e7070ce9-26a8-4d3a-99f4-f2ac4567d4da" providerId="ADAL" clId="{CFF9C8AC-91C6-4F66-919E-79B541F6FF2E}" dt="2020-07-10T11:29:26.695" v="4479" actId="207"/>
        <pc:sldMkLst>
          <pc:docMk/>
          <pc:sldMk cId="1383309642" sldId="1916"/>
        </pc:sldMkLst>
        <pc:spChg chg="add del mod">
          <ac:chgData name="Bantei Sangma [Chillibreeze]" userId="e7070ce9-26a8-4d3a-99f4-f2ac4567d4da" providerId="ADAL" clId="{CFF9C8AC-91C6-4F66-919E-79B541F6FF2E}" dt="2020-07-10T06:19:59.883" v="363" actId="478"/>
          <ac:spMkLst>
            <pc:docMk/>
            <pc:sldMk cId="1383309642" sldId="1916"/>
            <ac:spMk id="3" creationId="{5BC959E7-30BF-42DD-A3E0-A4512942F0CF}"/>
          </ac:spMkLst>
        </pc:spChg>
        <pc:spChg chg="add del mod">
          <ac:chgData name="Bantei Sangma [Chillibreeze]" userId="e7070ce9-26a8-4d3a-99f4-f2ac4567d4da" providerId="ADAL" clId="{CFF9C8AC-91C6-4F66-919E-79B541F6FF2E}" dt="2020-07-10T10:07:29.758" v="3470" actId="478"/>
          <ac:spMkLst>
            <pc:docMk/>
            <pc:sldMk cId="1383309642" sldId="1916"/>
            <ac:spMk id="5" creationId="{252966AC-187A-407A-8F93-D7EB214080FF}"/>
          </ac:spMkLst>
        </pc:spChg>
        <pc:spChg chg="add del mod">
          <ac:chgData name="Bantei Sangma [Chillibreeze]" userId="e7070ce9-26a8-4d3a-99f4-f2ac4567d4da" providerId="ADAL" clId="{CFF9C8AC-91C6-4F66-919E-79B541F6FF2E}" dt="2020-07-10T11:09:19.819" v="3716" actId="478"/>
          <ac:spMkLst>
            <pc:docMk/>
            <pc:sldMk cId="1383309642" sldId="1916"/>
            <ac:spMk id="6" creationId="{57A7657B-5E74-4A28-8137-E2FF54C76130}"/>
          </ac:spMkLst>
        </pc:spChg>
        <pc:spChg chg="add del">
          <ac:chgData name="Bantei Sangma [Chillibreeze]" userId="e7070ce9-26a8-4d3a-99f4-f2ac4567d4da" providerId="ADAL" clId="{CFF9C8AC-91C6-4F66-919E-79B541F6FF2E}" dt="2020-07-10T10:07:16.404" v="3465" actId="22"/>
          <ac:spMkLst>
            <pc:docMk/>
            <pc:sldMk cId="1383309642" sldId="1916"/>
            <ac:spMk id="9" creationId="{D6083E79-BC16-49F5-9BBC-271A34D858FE}"/>
          </ac:spMkLst>
        </pc:spChg>
        <pc:spChg chg="add mod">
          <ac:chgData name="Bantei Sangma [Chillibreeze]" userId="e7070ce9-26a8-4d3a-99f4-f2ac4567d4da" providerId="ADAL" clId="{CFF9C8AC-91C6-4F66-919E-79B541F6FF2E}" dt="2020-07-10T11:29:26.695" v="4479" actId="207"/>
          <ac:spMkLst>
            <pc:docMk/>
            <pc:sldMk cId="1383309642" sldId="1916"/>
            <ac:spMk id="11" creationId="{0E3D0088-708F-46C2-948E-DD4297652DE9}"/>
          </ac:spMkLst>
        </pc:spChg>
        <pc:spChg chg="add mod">
          <ac:chgData name="Bantei Sangma [Chillibreeze]" userId="e7070ce9-26a8-4d3a-99f4-f2ac4567d4da" providerId="ADAL" clId="{CFF9C8AC-91C6-4F66-919E-79B541F6FF2E}" dt="2020-07-10T11:09:22.503" v="3718" actId="948"/>
          <ac:spMkLst>
            <pc:docMk/>
            <pc:sldMk cId="1383309642" sldId="1916"/>
            <ac:spMk id="13" creationId="{63447DC5-67F7-4275-B7F0-9186EF33CA7B}"/>
          </ac:spMkLst>
        </pc:spChg>
        <pc:picChg chg="add del mod">
          <ac:chgData name="Bantei Sangma [Chillibreeze]" userId="e7070ce9-26a8-4d3a-99f4-f2ac4567d4da" providerId="ADAL" clId="{CFF9C8AC-91C6-4F66-919E-79B541F6FF2E}" dt="2020-07-10T10:07:29.758" v="3470" actId="478"/>
          <ac:picMkLst>
            <pc:docMk/>
            <pc:sldMk cId="1383309642" sldId="1916"/>
            <ac:picMk id="4" creationId="{D8963A1D-DAE3-4524-9A5F-701F53473A20}"/>
          </ac:picMkLst>
        </pc:picChg>
        <pc:picChg chg="add del mod">
          <ac:chgData name="Bantei Sangma [Chillibreeze]" userId="e7070ce9-26a8-4d3a-99f4-f2ac4567d4da" providerId="ADAL" clId="{CFF9C8AC-91C6-4F66-919E-79B541F6FF2E}" dt="2020-07-10T10:07:29.758" v="3470" actId="478"/>
          <ac:picMkLst>
            <pc:docMk/>
            <pc:sldMk cId="1383309642" sldId="1916"/>
            <ac:picMk id="7" creationId="{81C3A114-3C0B-4AB0-B9CB-B06727B7A71D}"/>
          </ac:picMkLst>
        </pc:picChg>
        <pc:picChg chg="add mod">
          <ac:chgData name="Bantei Sangma [Chillibreeze]" userId="e7070ce9-26a8-4d3a-99f4-f2ac4567d4da" providerId="ADAL" clId="{CFF9C8AC-91C6-4F66-919E-79B541F6FF2E}" dt="2020-07-10T10:07:20.741" v="3466"/>
          <ac:picMkLst>
            <pc:docMk/>
            <pc:sldMk cId="1383309642" sldId="1916"/>
            <ac:picMk id="10" creationId="{F5D41DB3-463D-4139-8959-B7985103D32E}"/>
          </ac:picMkLst>
        </pc:picChg>
        <pc:picChg chg="add mod">
          <ac:chgData name="Bantei Sangma [Chillibreeze]" userId="e7070ce9-26a8-4d3a-99f4-f2ac4567d4da" providerId="ADAL" clId="{CFF9C8AC-91C6-4F66-919E-79B541F6FF2E}" dt="2020-07-10T10:07:20.741" v="3466"/>
          <ac:picMkLst>
            <pc:docMk/>
            <pc:sldMk cId="1383309642" sldId="1916"/>
            <ac:picMk id="12" creationId="{89AFBBBD-6935-42DB-AB46-CFCA5A402A5B}"/>
          </ac:picMkLst>
        </pc:picChg>
      </pc:sldChg>
      <pc:sldChg chg="addSp delSp modSp add mod">
        <pc:chgData name="Bantei Sangma [Chillibreeze]" userId="e7070ce9-26a8-4d3a-99f4-f2ac4567d4da" providerId="ADAL" clId="{CFF9C8AC-91C6-4F66-919E-79B541F6FF2E}" dt="2020-07-10T11:31:17.242" v="4486" actId="207"/>
        <pc:sldMkLst>
          <pc:docMk/>
          <pc:sldMk cId="1801735399" sldId="1917"/>
        </pc:sldMkLst>
        <pc:spChg chg="mod">
          <ac:chgData name="Bantei Sangma [Chillibreeze]" userId="e7070ce9-26a8-4d3a-99f4-f2ac4567d4da" providerId="ADAL" clId="{CFF9C8AC-91C6-4F66-919E-79B541F6FF2E}" dt="2020-07-10T08:59:44.941" v="2156" actId="552"/>
          <ac:spMkLst>
            <pc:docMk/>
            <pc:sldMk cId="1801735399" sldId="1917"/>
            <ac:spMk id="2" creationId="{8B7D2504-CD52-4530-95A0-64324BCD7B4B}"/>
          </ac:spMkLst>
        </pc:spChg>
        <pc:spChg chg="del mod">
          <ac:chgData name="Bantei Sangma [Chillibreeze]" userId="e7070ce9-26a8-4d3a-99f4-f2ac4567d4da" providerId="ADAL" clId="{CFF9C8AC-91C6-4F66-919E-79B541F6FF2E}" dt="2020-07-10T08:54:57.911" v="2017" actId="478"/>
          <ac:spMkLst>
            <pc:docMk/>
            <pc:sldMk cId="1801735399" sldId="1917"/>
            <ac:spMk id="3" creationId="{A66B29F5-8CFF-4DB9-AFEC-546946435B8F}"/>
          </ac:spMkLst>
        </pc:spChg>
        <pc:spChg chg="add del mod">
          <ac:chgData name="Bantei Sangma [Chillibreeze]" userId="e7070ce9-26a8-4d3a-99f4-f2ac4567d4da" providerId="ADAL" clId="{CFF9C8AC-91C6-4F66-919E-79B541F6FF2E}" dt="2020-07-10T09:08:22.137" v="2485"/>
          <ac:spMkLst>
            <pc:docMk/>
            <pc:sldMk cId="1801735399" sldId="1917"/>
            <ac:spMk id="4" creationId="{965C21AC-32BD-4385-8FD8-5BB8CAC6E27A}"/>
          </ac:spMkLst>
        </pc:spChg>
        <pc:spChg chg="mod">
          <ac:chgData name="Bantei Sangma [Chillibreeze]" userId="e7070ce9-26a8-4d3a-99f4-f2ac4567d4da" providerId="ADAL" clId="{CFF9C8AC-91C6-4F66-919E-79B541F6FF2E}" dt="2020-07-10T11:31:17.242" v="4486" actId="207"/>
          <ac:spMkLst>
            <pc:docMk/>
            <pc:sldMk cId="1801735399" sldId="1917"/>
            <ac:spMk id="5" creationId="{5218CEFF-5AE7-4580-BBBA-7F13632FC6AC}"/>
          </ac:spMkLst>
        </pc:spChg>
        <pc:spChg chg="add del mod">
          <ac:chgData name="Bantei Sangma [Chillibreeze]" userId="e7070ce9-26a8-4d3a-99f4-f2ac4567d4da" providerId="ADAL" clId="{CFF9C8AC-91C6-4F66-919E-79B541F6FF2E}" dt="2020-07-10T09:04:11.855" v="2452" actId="478"/>
          <ac:spMkLst>
            <pc:docMk/>
            <pc:sldMk cId="1801735399" sldId="1917"/>
            <ac:spMk id="17" creationId="{56624B8A-DAD2-42CE-B3F0-5E078AAE40A9}"/>
          </ac:spMkLst>
        </pc:spChg>
        <pc:spChg chg="mod">
          <ac:chgData name="Bantei Sangma [Chillibreeze]" userId="e7070ce9-26a8-4d3a-99f4-f2ac4567d4da" providerId="ADAL" clId="{CFF9C8AC-91C6-4F66-919E-79B541F6FF2E}" dt="2020-07-10T11:31:11.303" v="4485" actId="207"/>
          <ac:spMkLst>
            <pc:docMk/>
            <pc:sldMk cId="1801735399" sldId="1917"/>
            <ac:spMk id="19" creationId="{B2E026DF-BC43-49E3-A2D4-98D94AE3ED9B}"/>
          </ac:spMkLst>
        </pc:spChg>
        <pc:spChg chg="mod">
          <ac:chgData name="Bantei Sangma [Chillibreeze]" userId="e7070ce9-26a8-4d3a-99f4-f2ac4567d4da" providerId="ADAL" clId="{CFF9C8AC-91C6-4F66-919E-79B541F6FF2E}" dt="2020-07-10T11:31:11.303" v="4485" actId="207"/>
          <ac:spMkLst>
            <pc:docMk/>
            <pc:sldMk cId="1801735399" sldId="1917"/>
            <ac:spMk id="21" creationId="{9F6ED548-05AE-431D-B1DD-50C21DE36ACA}"/>
          </ac:spMkLst>
        </pc:spChg>
        <pc:spChg chg="mod">
          <ac:chgData name="Bantei Sangma [Chillibreeze]" userId="e7070ce9-26a8-4d3a-99f4-f2ac4567d4da" providerId="ADAL" clId="{CFF9C8AC-91C6-4F66-919E-79B541F6FF2E}" dt="2020-07-10T11:31:11.303" v="4485" actId="207"/>
          <ac:spMkLst>
            <pc:docMk/>
            <pc:sldMk cId="1801735399" sldId="1917"/>
            <ac:spMk id="24" creationId="{CA8C08A1-482A-4CD6-A533-F56EB17AD84D}"/>
          </ac:spMkLst>
        </pc:spChg>
        <pc:spChg chg="mod">
          <ac:chgData name="Bantei Sangma [Chillibreeze]" userId="e7070ce9-26a8-4d3a-99f4-f2ac4567d4da" providerId="ADAL" clId="{CFF9C8AC-91C6-4F66-919E-79B541F6FF2E}" dt="2020-07-10T11:31:11.303" v="4485" actId="207"/>
          <ac:spMkLst>
            <pc:docMk/>
            <pc:sldMk cId="1801735399" sldId="1917"/>
            <ac:spMk id="26" creationId="{7298D123-CA99-4FE7-87BA-E40C2C3E3AB4}"/>
          </ac:spMkLst>
        </pc:spChg>
        <pc:spChg chg="add mod">
          <ac:chgData name="Bantei Sangma [Chillibreeze]" userId="e7070ce9-26a8-4d3a-99f4-f2ac4567d4da" providerId="ADAL" clId="{CFF9C8AC-91C6-4F66-919E-79B541F6FF2E}" dt="2020-07-10T09:04:45.716" v="2463" actId="14100"/>
          <ac:spMkLst>
            <pc:docMk/>
            <pc:sldMk cId="1801735399" sldId="1917"/>
            <ac:spMk id="30" creationId="{8882D9EC-DE67-44B8-AE7E-5D6D935D8105}"/>
          </ac:spMkLst>
        </pc:spChg>
        <pc:spChg chg="add del mod">
          <ac:chgData name="Bantei Sangma [Chillibreeze]" userId="e7070ce9-26a8-4d3a-99f4-f2ac4567d4da" providerId="ADAL" clId="{CFF9C8AC-91C6-4F66-919E-79B541F6FF2E}" dt="2020-07-10T09:09:30.717" v="2503"/>
          <ac:spMkLst>
            <pc:docMk/>
            <pc:sldMk cId="1801735399" sldId="1917"/>
            <ac:spMk id="31" creationId="{B84A8FE7-ACE7-4A77-8241-45897ADD98A8}"/>
          </ac:spMkLst>
        </pc:spChg>
        <pc:picChg chg="del">
          <ac:chgData name="Bantei Sangma [Chillibreeze]" userId="e7070ce9-26a8-4d3a-99f4-f2ac4567d4da" providerId="ADAL" clId="{CFF9C8AC-91C6-4F66-919E-79B541F6FF2E}" dt="2020-07-10T08:48:40.273" v="1988" actId="478"/>
          <ac:picMkLst>
            <pc:docMk/>
            <pc:sldMk cId="1801735399" sldId="1917"/>
            <ac:picMk id="18" creationId="{385972D2-6E60-4784-B52A-35DF6EEE12BF}"/>
          </ac:picMkLst>
        </pc:picChg>
        <pc:picChg chg="del">
          <ac:chgData name="Bantei Sangma [Chillibreeze]" userId="e7070ce9-26a8-4d3a-99f4-f2ac4567d4da" providerId="ADAL" clId="{CFF9C8AC-91C6-4F66-919E-79B541F6FF2E}" dt="2020-07-10T08:48:40.273" v="1988" actId="478"/>
          <ac:picMkLst>
            <pc:docMk/>
            <pc:sldMk cId="1801735399" sldId="1917"/>
            <ac:picMk id="20" creationId="{B7CFE8AA-7A7E-4C78-951C-713FC860D17E}"/>
          </ac:picMkLst>
        </pc:picChg>
        <pc:picChg chg="del">
          <ac:chgData name="Bantei Sangma [Chillibreeze]" userId="e7070ce9-26a8-4d3a-99f4-f2ac4567d4da" providerId="ADAL" clId="{CFF9C8AC-91C6-4F66-919E-79B541F6FF2E}" dt="2020-07-10T08:48:40.273" v="1988" actId="478"/>
          <ac:picMkLst>
            <pc:docMk/>
            <pc:sldMk cId="1801735399" sldId="1917"/>
            <ac:picMk id="23" creationId="{17F625A0-D926-4B12-86D8-0539BF1A453B}"/>
          </ac:picMkLst>
        </pc:picChg>
        <pc:picChg chg="del">
          <ac:chgData name="Bantei Sangma [Chillibreeze]" userId="e7070ce9-26a8-4d3a-99f4-f2ac4567d4da" providerId="ADAL" clId="{CFF9C8AC-91C6-4F66-919E-79B541F6FF2E}" dt="2020-07-10T08:48:40.273" v="1988" actId="478"/>
          <ac:picMkLst>
            <pc:docMk/>
            <pc:sldMk cId="1801735399" sldId="1917"/>
            <ac:picMk id="25" creationId="{123AAC8C-6020-4FB8-BB5A-F157B7C31F6F}"/>
          </ac:picMkLst>
        </pc:picChg>
        <pc:cxnChg chg="del">
          <ac:chgData name="Bantei Sangma [Chillibreeze]" userId="e7070ce9-26a8-4d3a-99f4-f2ac4567d4da" providerId="ADAL" clId="{CFF9C8AC-91C6-4F66-919E-79B541F6FF2E}" dt="2020-07-10T08:54:12.090" v="2002" actId="478"/>
          <ac:cxnSpMkLst>
            <pc:docMk/>
            <pc:sldMk cId="1801735399" sldId="1917"/>
            <ac:cxnSpMk id="22" creationId="{82BDA794-03C1-48F2-B95E-0BEF8A3AABAE}"/>
          </ac:cxnSpMkLst>
        </pc:cxnChg>
        <pc:cxnChg chg="del">
          <ac:chgData name="Bantei Sangma [Chillibreeze]" userId="e7070ce9-26a8-4d3a-99f4-f2ac4567d4da" providerId="ADAL" clId="{CFF9C8AC-91C6-4F66-919E-79B541F6FF2E}" dt="2020-07-10T08:54:12.090" v="2002" actId="478"/>
          <ac:cxnSpMkLst>
            <pc:docMk/>
            <pc:sldMk cId="1801735399" sldId="1917"/>
            <ac:cxnSpMk id="27" creationId="{60271B3E-1577-4DE7-AAD2-33109474747D}"/>
          </ac:cxnSpMkLst>
        </pc:cxnChg>
        <pc:cxnChg chg="del">
          <ac:chgData name="Bantei Sangma [Chillibreeze]" userId="e7070ce9-26a8-4d3a-99f4-f2ac4567d4da" providerId="ADAL" clId="{CFF9C8AC-91C6-4F66-919E-79B541F6FF2E}" dt="2020-07-10T08:54:12.090" v="2002" actId="478"/>
          <ac:cxnSpMkLst>
            <pc:docMk/>
            <pc:sldMk cId="1801735399" sldId="1917"/>
            <ac:cxnSpMk id="28" creationId="{B757CD3D-D228-4FC1-95CF-90A3D7D7BE2E}"/>
          </ac:cxnSpMkLst>
        </pc:cxnChg>
        <pc:cxnChg chg="del">
          <ac:chgData name="Bantei Sangma [Chillibreeze]" userId="e7070ce9-26a8-4d3a-99f4-f2ac4567d4da" providerId="ADAL" clId="{CFF9C8AC-91C6-4F66-919E-79B541F6FF2E}" dt="2020-07-10T08:54:12.090" v="2002" actId="478"/>
          <ac:cxnSpMkLst>
            <pc:docMk/>
            <pc:sldMk cId="1801735399" sldId="1917"/>
            <ac:cxnSpMk id="29" creationId="{C593B1A8-2620-4A68-B908-8B2001AD0C0C}"/>
          </ac:cxnSpMkLst>
        </pc:cxnChg>
      </pc:sldChg>
      <pc:sldChg chg="add del">
        <pc:chgData name="Bantei Sangma [Chillibreeze]" userId="e7070ce9-26a8-4d3a-99f4-f2ac4567d4da" providerId="ADAL" clId="{CFF9C8AC-91C6-4F66-919E-79B541F6FF2E}" dt="2020-07-10T06:53:44.597" v="986" actId="22"/>
        <pc:sldMkLst>
          <pc:docMk/>
          <pc:sldMk cId="2980162256" sldId="1917"/>
        </pc:sldMkLst>
      </pc:sldChg>
      <pc:sldChg chg="addSp delSp modSp add mod">
        <pc:chgData name="Bantei Sangma [Chillibreeze]" userId="e7070ce9-26a8-4d3a-99f4-f2ac4567d4da" providerId="ADAL" clId="{CFF9C8AC-91C6-4F66-919E-79B541F6FF2E}" dt="2020-07-10T11:30:11.295" v="4480" actId="207"/>
        <pc:sldMkLst>
          <pc:docMk/>
          <pc:sldMk cId="2201763488" sldId="1918"/>
        </pc:sldMkLst>
        <pc:spChg chg="mod">
          <ac:chgData name="Bantei Sangma [Chillibreeze]" userId="e7070ce9-26a8-4d3a-99f4-f2ac4567d4da" providerId="ADAL" clId="{CFF9C8AC-91C6-4F66-919E-79B541F6FF2E}" dt="2020-07-10T10:02:46.427" v="3091" actId="14100"/>
          <ac:spMkLst>
            <pc:docMk/>
            <pc:sldMk cId="2201763488" sldId="1918"/>
            <ac:spMk id="2" creationId="{D491ED86-CEFB-41E7-A879-B7A00DC930D3}"/>
          </ac:spMkLst>
        </pc:spChg>
        <pc:spChg chg="add del mod">
          <ac:chgData name="Bantei Sangma [Chillibreeze]" userId="e7070ce9-26a8-4d3a-99f4-f2ac4567d4da" providerId="ADAL" clId="{CFF9C8AC-91C6-4F66-919E-79B541F6FF2E}" dt="2020-07-10T11:17:31.112" v="4413" actId="478"/>
          <ac:spMkLst>
            <pc:docMk/>
            <pc:sldMk cId="2201763488" sldId="1918"/>
            <ac:spMk id="5" creationId="{98FC5F73-1165-4DA8-9345-CE6BA073125D}"/>
          </ac:spMkLst>
        </pc:spChg>
        <pc:spChg chg="add del mod">
          <ac:chgData name="Bantei Sangma [Chillibreeze]" userId="e7070ce9-26a8-4d3a-99f4-f2ac4567d4da" providerId="ADAL" clId="{CFF9C8AC-91C6-4F66-919E-79B541F6FF2E}" dt="2020-07-10T11:24:19.001" v="4465" actId="21"/>
          <ac:spMkLst>
            <pc:docMk/>
            <pc:sldMk cId="2201763488" sldId="1918"/>
            <ac:spMk id="6" creationId="{93B67F94-E81F-4A1E-8294-1D44512C478D}"/>
          </ac:spMkLst>
        </pc:spChg>
        <pc:spChg chg="mod topLvl">
          <ac:chgData name="Bantei Sangma [Chillibreeze]" userId="e7070ce9-26a8-4d3a-99f4-f2ac4567d4da" providerId="ADAL" clId="{CFF9C8AC-91C6-4F66-919E-79B541F6FF2E}" dt="2020-07-10T11:24:17.121" v="4464" actId="14100"/>
          <ac:spMkLst>
            <pc:docMk/>
            <pc:sldMk cId="2201763488" sldId="1918"/>
            <ac:spMk id="9" creationId="{64C79184-DC63-4E91-8FAD-A1086D2B41A9}"/>
          </ac:spMkLst>
        </pc:spChg>
        <pc:spChg chg="mod topLvl">
          <ac:chgData name="Bantei Sangma [Chillibreeze]" userId="e7070ce9-26a8-4d3a-99f4-f2ac4567d4da" providerId="ADAL" clId="{CFF9C8AC-91C6-4F66-919E-79B541F6FF2E}" dt="2020-07-10T11:22:17.940" v="4445" actId="14100"/>
          <ac:spMkLst>
            <pc:docMk/>
            <pc:sldMk cId="2201763488" sldId="1918"/>
            <ac:spMk id="12" creationId="{BCFD303F-6DEC-4747-A494-A1E48CBC3C98}"/>
          </ac:spMkLst>
        </pc:spChg>
        <pc:spChg chg="mod">
          <ac:chgData name="Bantei Sangma [Chillibreeze]" userId="e7070ce9-26a8-4d3a-99f4-f2ac4567d4da" providerId="ADAL" clId="{CFF9C8AC-91C6-4F66-919E-79B541F6FF2E}" dt="2020-07-10T11:02:12.887" v="3679" actId="553"/>
          <ac:spMkLst>
            <pc:docMk/>
            <pc:sldMk cId="2201763488" sldId="1918"/>
            <ac:spMk id="14" creationId="{6282BF46-2607-4C0D-BA8D-E657E05A410D}"/>
          </ac:spMkLst>
        </pc:spChg>
        <pc:spChg chg="mod">
          <ac:chgData name="Bantei Sangma [Chillibreeze]" userId="e7070ce9-26a8-4d3a-99f4-f2ac4567d4da" providerId="ADAL" clId="{CFF9C8AC-91C6-4F66-919E-79B541F6FF2E}" dt="2020-07-10T11:30:11.295" v="4480" actId="207"/>
          <ac:spMkLst>
            <pc:docMk/>
            <pc:sldMk cId="2201763488" sldId="1918"/>
            <ac:spMk id="15" creationId="{AAFCA2F6-C299-4497-AA0B-08F2680B37C6}"/>
          </ac:spMkLst>
        </pc:spChg>
        <pc:spChg chg="mod">
          <ac:chgData name="Bantei Sangma [Chillibreeze]" userId="e7070ce9-26a8-4d3a-99f4-f2ac4567d4da" providerId="ADAL" clId="{CFF9C8AC-91C6-4F66-919E-79B541F6FF2E}" dt="2020-07-10T11:02:28.233" v="3680" actId="207"/>
          <ac:spMkLst>
            <pc:docMk/>
            <pc:sldMk cId="2201763488" sldId="1918"/>
            <ac:spMk id="16" creationId="{95020A70-E47D-4D3C-8175-97312447D9BC}"/>
          </ac:spMkLst>
        </pc:spChg>
        <pc:spChg chg="mod">
          <ac:chgData name="Bantei Sangma [Chillibreeze]" userId="e7070ce9-26a8-4d3a-99f4-f2ac4567d4da" providerId="ADAL" clId="{CFF9C8AC-91C6-4F66-919E-79B541F6FF2E}" dt="2020-07-10T11:02:28.233" v="3680" actId="207"/>
          <ac:spMkLst>
            <pc:docMk/>
            <pc:sldMk cId="2201763488" sldId="1918"/>
            <ac:spMk id="17" creationId="{3D980A0E-1E1D-4F8D-AD91-A0BDEBACE379}"/>
          </ac:spMkLst>
        </pc:spChg>
        <pc:spChg chg="mod">
          <ac:chgData name="Bantei Sangma [Chillibreeze]" userId="e7070ce9-26a8-4d3a-99f4-f2ac4567d4da" providerId="ADAL" clId="{CFF9C8AC-91C6-4F66-919E-79B541F6FF2E}" dt="2020-07-10T11:02:28.233" v="3680" actId="207"/>
          <ac:spMkLst>
            <pc:docMk/>
            <pc:sldMk cId="2201763488" sldId="1918"/>
            <ac:spMk id="18" creationId="{EC92BF75-46EF-4BA0-8DAE-1B3DB183D96C}"/>
          </ac:spMkLst>
        </pc:spChg>
        <pc:spChg chg="add del mod">
          <ac:chgData name="Bantei Sangma [Chillibreeze]" userId="e7070ce9-26a8-4d3a-99f4-f2ac4567d4da" providerId="ADAL" clId="{CFF9C8AC-91C6-4F66-919E-79B541F6FF2E}" dt="2020-07-10T11:17:28.514" v="4412" actId="478"/>
          <ac:spMkLst>
            <pc:docMk/>
            <pc:sldMk cId="2201763488" sldId="1918"/>
            <ac:spMk id="19" creationId="{CE939E70-1A90-4FD1-B34B-3B01E27D797F}"/>
          </ac:spMkLst>
        </pc:spChg>
        <pc:spChg chg="add del mod">
          <ac:chgData name="Bantei Sangma [Chillibreeze]" userId="e7070ce9-26a8-4d3a-99f4-f2ac4567d4da" providerId="ADAL" clId="{CFF9C8AC-91C6-4F66-919E-79B541F6FF2E}" dt="2020-07-10T11:22:21.802" v="4446" actId="21"/>
          <ac:spMkLst>
            <pc:docMk/>
            <pc:sldMk cId="2201763488" sldId="1918"/>
            <ac:spMk id="20" creationId="{EE0C9811-B5EF-417D-8EF2-4AFFFAF8096E}"/>
          </ac:spMkLst>
        </pc:spChg>
        <pc:spChg chg="mod">
          <ac:chgData name="Bantei Sangma [Chillibreeze]" userId="e7070ce9-26a8-4d3a-99f4-f2ac4567d4da" providerId="ADAL" clId="{CFF9C8AC-91C6-4F66-919E-79B541F6FF2E}" dt="2020-07-10T10:03:43.084" v="3342" actId="1076"/>
          <ac:spMkLst>
            <pc:docMk/>
            <pc:sldMk cId="2201763488" sldId="1918"/>
            <ac:spMk id="25" creationId="{7AF55B66-167E-4654-AEEA-9EDCD445EC81}"/>
          </ac:spMkLst>
        </pc:spChg>
        <pc:spChg chg="mod">
          <ac:chgData name="Bantei Sangma [Chillibreeze]" userId="e7070ce9-26a8-4d3a-99f4-f2ac4567d4da" providerId="ADAL" clId="{CFF9C8AC-91C6-4F66-919E-79B541F6FF2E}" dt="2020-07-10T10:03:43.084" v="3342" actId="1076"/>
          <ac:spMkLst>
            <pc:docMk/>
            <pc:sldMk cId="2201763488" sldId="1918"/>
            <ac:spMk id="26" creationId="{584C81E9-D628-4BF4-862A-35D36CA601F5}"/>
          </ac:spMkLst>
        </pc:spChg>
        <pc:spChg chg="mod">
          <ac:chgData name="Bantei Sangma [Chillibreeze]" userId="e7070ce9-26a8-4d3a-99f4-f2ac4567d4da" providerId="ADAL" clId="{CFF9C8AC-91C6-4F66-919E-79B541F6FF2E}" dt="2020-07-10T10:03:43.084" v="3342" actId="1076"/>
          <ac:spMkLst>
            <pc:docMk/>
            <pc:sldMk cId="2201763488" sldId="1918"/>
            <ac:spMk id="27" creationId="{A7F2E35F-77F6-4EC5-AEC0-1DFD4A8183C0}"/>
          </ac:spMkLst>
        </pc:spChg>
        <pc:grpChg chg="add del mod">
          <ac:chgData name="Bantei Sangma [Chillibreeze]" userId="e7070ce9-26a8-4d3a-99f4-f2ac4567d4da" providerId="ADAL" clId="{CFF9C8AC-91C6-4F66-919E-79B541F6FF2E}" dt="2020-07-10T10:02:22.280" v="3076" actId="165"/>
          <ac:grpSpMkLst>
            <pc:docMk/>
            <pc:sldMk cId="2201763488" sldId="1918"/>
            <ac:grpSpMk id="3" creationId="{D67DFFD2-E7E2-421B-A659-047A69EE9D7A}"/>
          </ac:grpSpMkLst>
        </pc:grpChg>
        <pc:grpChg chg="add del mod">
          <ac:chgData name="Bantei Sangma [Chillibreeze]" userId="e7070ce9-26a8-4d3a-99f4-f2ac4567d4da" providerId="ADAL" clId="{CFF9C8AC-91C6-4F66-919E-79B541F6FF2E}" dt="2020-07-10T10:03:02.894" v="3094" actId="165"/>
          <ac:grpSpMkLst>
            <pc:docMk/>
            <pc:sldMk cId="2201763488" sldId="1918"/>
            <ac:grpSpMk id="4" creationId="{B40AAD7A-F0D6-4534-B243-E23AD04A75CC}"/>
          </ac:grpSpMkLst>
        </pc:grpChg>
        <pc:picChg chg="del">
          <ac:chgData name="Bantei Sangma [Chillibreeze]" userId="e7070ce9-26a8-4d3a-99f4-f2ac4567d4da" providerId="ADAL" clId="{CFF9C8AC-91C6-4F66-919E-79B541F6FF2E}" dt="2020-07-10T10:01:36.631" v="3048" actId="478"/>
          <ac:picMkLst>
            <pc:docMk/>
            <pc:sldMk cId="2201763488" sldId="1918"/>
            <ac:picMk id="8" creationId="{20048953-D6C6-4EA5-B9D8-BE3FB8ED68B0}"/>
          </ac:picMkLst>
        </pc:picChg>
        <pc:picChg chg="del">
          <ac:chgData name="Bantei Sangma [Chillibreeze]" userId="e7070ce9-26a8-4d3a-99f4-f2ac4567d4da" providerId="ADAL" clId="{CFF9C8AC-91C6-4F66-919E-79B541F6FF2E}" dt="2020-07-10T10:01:36.631" v="3048" actId="478"/>
          <ac:picMkLst>
            <pc:docMk/>
            <pc:sldMk cId="2201763488" sldId="1918"/>
            <ac:picMk id="11" creationId="{3C822151-6A73-4FEB-AB47-E2083FD451A9}"/>
          </ac:picMkLst>
        </pc:picChg>
        <pc:cxnChg chg="del">
          <ac:chgData name="Bantei Sangma [Chillibreeze]" userId="e7070ce9-26a8-4d3a-99f4-f2ac4567d4da" providerId="ADAL" clId="{CFF9C8AC-91C6-4F66-919E-79B541F6FF2E}" dt="2020-07-10T10:01:37.281" v="3049" actId="478"/>
          <ac:cxnSpMkLst>
            <pc:docMk/>
            <pc:sldMk cId="2201763488" sldId="1918"/>
            <ac:cxnSpMk id="13" creationId="{07724D6C-A5D6-441A-86DF-1BCF0549EF32}"/>
          </ac:cxnSpMkLst>
        </pc:cxnChg>
      </pc:sldChg>
      <pc:sldChg chg="add del">
        <pc:chgData name="Bantei Sangma [Chillibreeze]" userId="e7070ce9-26a8-4d3a-99f4-f2ac4567d4da" providerId="ADAL" clId="{CFF9C8AC-91C6-4F66-919E-79B541F6FF2E}" dt="2020-07-10T09:45:52.143" v="2932" actId="47"/>
        <pc:sldMkLst>
          <pc:docMk/>
          <pc:sldMk cId="3394103013" sldId="1918"/>
        </pc:sldMkLst>
      </pc:sldChg>
      <pc:sldMasterChg chg="addSldLayout modSldLayout">
        <pc:chgData name="Bantei Sangma [Chillibreeze]" userId="e7070ce9-26a8-4d3a-99f4-f2ac4567d4da" providerId="ADAL" clId="{CFF9C8AC-91C6-4F66-919E-79B541F6FF2E}" dt="2020-07-10T09:44:44.879" v="2910" actId="22"/>
        <pc:sldMasterMkLst>
          <pc:docMk/>
          <pc:sldMasterMk cId="1881724970" sldId="2147484551"/>
        </pc:sldMasterMkLst>
        <pc:sldLayoutChg chg="modSp">
          <pc:chgData name="Bantei Sangma [Chillibreeze]" userId="e7070ce9-26a8-4d3a-99f4-f2ac4567d4da" providerId="ADAL" clId="{CFF9C8AC-91C6-4F66-919E-79B541F6FF2E}" dt="2020-07-10T09:14:04.019" v="2560"/>
          <pc:sldLayoutMkLst>
            <pc:docMk/>
            <pc:sldMasterMk cId="1881724970" sldId="2147484551"/>
            <pc:sldLayoutMk cId="227641596" sldId="2147484572"/>
          </pc:sldLayoutMkLst>
          <pc:spChg chg="mod">
            <ac:chgData name="Bantei Sangma [Chillibreeze]" userId="e7070ce9-26a8-4d3a-99f4-f2ac4567d4da" providerId="ADAL" clId="{CFF9C8AC-91C6-4F66-919E-79B541F6FF2E}" dt="2020-07-10T09:14:04.019" v="2560"/>
            <ac:spMkLst>
              <pc:docMk/>
              <pc:sldMasterMk cId="1881724970" sldId="2147484551"/>
              <pc:sldLayoutMk cId="227641596" sldId="2147484572"/>
              <ac:spMk id="10" creationId="{AD9F5927-827C-2E4D-8781-07CF39C27494}"/>
            </ac:spMkLst>
          </pc:spChg>
        </pc:sldLayoutChg>
        <pc:sldLayoutChg chg="add">
          <pc:chgData name="Bantei Sangma [Chillibreeze]" userId="e7070ce9-26a8-4d3a-99f4-f2ac4567d4da" providerId="ADAL" clId="{CFF9C8AC-91C6-4F66-919E-79B541F6FF2E}" dt="2020-07-10T09:44:44.879" v="2910" actId="22"/>
          <pc:sldLayoutMkLst>
            <pc:docMk/>
            <pc:sldMasterMk cId="1881724970" sldId="2147484551"/>
            <pc:sldLayoutMk cId="2254410227" sldId="2147484623"/>
          </pc:sldLayoutMkLst>
        </pc:sldLayoutChg>
      </pc:sldMasterChg>
    </pc:docChg>
  </pc:docChgLst>
  <pc:docChgLst>
    <pc:chgData name="Vincent Kharsyad [Chillibreeze]" userId="7b5f9e7a-8cb6-4e11-ad75-0918041740fe" providerId="ADAL" clId="{9D6E1852-5810-4B53-BDF5-FE17275CA0ED}"/>
    <pc:docChg chg="undo custSel delSld modSld addSection delSection modSection">
      <pc:chgData name="Vincent Kharsyad [Chillibreeze]" userId="7b5f9e7a-8cb6-4e11-ad75-0918041740fe" providerId="ADAL" clId="{9D6E1852-5810-4B53-BDF5-FE17275CA0ED}" dt="2020-07-13T12:01:32.397" v="1196" actId="1036"/>
      <pc:docMkLst>
        <pc:docMk/>
      </pc:docMkLst>
      <pc:sldChg chg="addSp delSp modSp">
        <pc:chgData name="Vincent Kharsyad [Chillibreeze]" userId="7b5f9e7a-8cb6-4e11-ad75-0918041740fe" providerId="ADAL" clId="{9D6E1852-5810-4B53-BDF5-FE17275CA0ED}" dt="2020-07-13T06:08:26.557" v="263" actId="165"/>
        <pc:sldMkLst>
          <pc:docMk/>
          <pc:sldMk cId="1548455647" sldId="1494"/>
        </pc:sldMkLst>
        <pc:spChg chg="mod">
          <ac:chgData name="Vincent Kharsyad [Chillibreeze]" userId="7b5f9e7a-8cb6-4e11-ad75-0918041740fe" providerId="ADAL" clId="{9D6E1852-5810-4B53-BDF5-FE17275CA0ED}" dt="2020-07-13T05:28:03.367" v="207" actId="338"/>
          <ac:spMkLst>
            <pc:docMk/>
            <pc:sldMk cId="1548455647" sldId="1494"/>
            <ac:spMk id="2" creationId="{68B12007-FCCD-4CDA-A543-235BA547DD2F}"/>
          </ac:spMkLst>
        </pc:spChg>
        <pc:spChg chg="mod">
          <ac:chgData name="Vincent Kharsyad [Chillibreeze]" userId="7b5f9e7a-8cb6-4e11-ad75-0918041740fe" providerId="ADAL" clId="{9D6E1852-5810-4B53-BDF5-FE17275CA0ED}" dt="2020-07-13T05:28:03.367" v="207" actId="338"/>
          <ac:spMkLst>
            <pc:docMk/>
            <pc:sldMk cId="1548455647" sldId="1494"/>
            <ac:spMk id="3" creationId="{F3B47DCC-CF95-4340-97F5-8B4D3A86191F}"/>
          </ac:spMkLst>
        </pc:spChg>
        <pc:spChg chg="mod">
          <ac:chgData name="Vincent Kharsyad [Chillibreeze]" userId="7b5f9e7a-8cb6-4e11-ad75-0918041740fe" providerId="ADAL" clId="{9D6E1852-5810-4B53-BDF5-FE17275CA0ED}" dt="2020-07-13T05:28:03.367" v="207" actId="338"/>
          <ac:spMkLst>
            <pc:docMk/>
            <pc:sldMk cId="1548455647" sldId="1494"/>
            <ac:spMk id="5" creationId="{5309DF20-0022-4664-B945-A22C84B9F026}"/>
          </ac:spMkLst>
        </pc:spChg>
        <pc:spChg chg="mod">
          <ac:chgData name="Vincent Kharsyad [Chillibreeze]" userId="7b5f9e7a-8cb6-4e11-ad75-0918041740fe" providerId="ADAL" clId="{9D6E1852-5810-4B53-BDF5-FE17275CA0ED}" dt="2020-07-13T05:28:03.367" v="207" actId="338"/>
          <ac:spMkLst>
            <pc:docMk/>
            <pc:sldMk cId="1548455647" sldId="1494"/>
            <ac:spMk id="6" creationId="{69CC6095-F270-4CF0-9692-87D6E9C07C7E}"/>
          </ac:spMkLst>
        </pc:spChg>
        <pc:spChg chg="mod">
          <ac:chgData name="Vincent Kharsyad [Chillibreeze]" userId="7b5f9e7a-8cb6-4e11-ad75-0918041740fe" providerId="ADAL" clId="{9D6E1852-5810-4B53-BDF5-FE17275CA0ED}" dt="2020-07-13T05:28:03.367" v="207" actId="338"/>
          <ac:spMkLst>
            <pc:docMk/>
            <pc:sldMk cId="1548455647" sldId="1494"/>
            <ac:spMk id="8" creationId="{3D966DCD-B749-4593-8793-BCD1FCE8E548}"/>
          </ac:spMkLst>
        </pc:spChg>
        <pc:spChg chg="mod">
          <ac:chgData name="Vincent Kharsyad [Chillibreeze]" userId="7b5f9e7a-8cb6-4e11-ad75-0918041740fe" providerId="ADAL" clId="{9D6E1852-5810-4B53-BDF5-FE17275CA0ED}" dt="2020-07-13T05:28:03.367" v="207" actId="338"/>
          <ac:spMkLst>
            <pc:docMk/>
            <pc:sldMk cId="1548455647" sldId="1494"/>
            <ac:spMk id="9" creationId="{13064F14-594F-4D69-97F4-85DF60D400C0}"/>
          </ac:spMkLst>
        </pc:spChg>
        <pc:spChg chg="mod">
          <ac:chgData name="Vincent Kharsyad [Chillibreeze]" userId="7b5f9e7a-8cb6-4e11-ad75-0918041740fe" providerId="ADAL" clId="{9D6E1852-5810-4B53-BDF5-FE17275CA0ED}" dt="2020-07-13T05:28:03.367" v="207" actId="338"/>
          <ac:spMkLst>
            <pc:docMk/>
            <pc:sldMk cId="1548455647" sldId="1494"/>
            <ac:spMk id="10" creationId="{636E1AF8-31C3-4AA3-A62E-7B1FE0E06E2A}"/>
          </ac:spMkLst>
        </pc:spChg>
        <pc:grpChg chg="mod">
          <ac:chgData name="Vincent Kharsyad [Chillibreeze]" userId="7b5f9e7a-8cb6-4e11-ad75-0918041740fe" providerId="ADAL" clId="{9D6E1852-5810-4B53-BDF5-FE17275CA0ED}" dt="2020-07-13T05:28:03.367" v="207" actId="338"/>
          <ac:grpSpMkLst>
            <pc:docMk/>
            <pc:sldMk cId="1548455647" sldId="1494"/>
            <ac:grpSpMk id="1" creationId="{00000000-0000-0000-0000-000000000000}"/>
          </ac:grpSpMkLst>
        </pc:grpChg>
        <pc:grpChg chg="add del mod">
          <ac:chgData name="Vincent Kharsyad [Chillibreeze]" userId="7b5f9e7a-8cb6-4e11-ad75-0918041740fe" providerId="ADAL" clId="{9D6E1852-5810-4B53-BDF5-FE17275CA0ED}" dt="2020-07-13T06:08:26.557" v="263" actId="165"/>
          <ac:grpSpMkLst>
            <pc:docMk/>
            <pc:sldMk cId="1548455647" sldId="1494"/>
            <ac:grpSpMk id="4" creationId="{47F2D53E-C928-45E0-927A-64F998166217}"/>
          </ac:grpSpMkLst>
        </pc:grpChg>
        <pc:grpChg chg="mod">
          <ac:chgData name="Vincent Kharsyad [Chillibreeze]" userId="7b5f9e7a-8cb6-4e11-ad75-0918041740fe" providerId="ADAL" clId="{9D6E1852-5810-4B53-BDF5-FE17275CA0ED}" dt="2020-07-13T05:28:03.367" v="207" actId="338"/>
          <ac:grpSpMkLst>
            <pc:docMk/>
            <pc:sldMk cId="1548455647" sldId="1494"/>
            <ac:grpSpMk id="4" creationId="{74F24ABC-D348-4CD8-9112-79A7465BF193}"/>
          </ac:grpSpMkLst>
        </pc:grpChg>
        <pc:picChg chg="mod topLvl">
          <ac:chgData name="Vincent Kharsyad [Chillibreeze]" userId="7b5f9e7a-8cb6-4e11-ad75-0918041740fe" providerId="ADAL" clId="{9D6E1852-5810-4B53-BDF5-FE17275CA0ED}" dt="2020-07-13T06:08:26.557" v="263" actId="165"/>
          <ac:picMkLst>
            <pc:docMk/>
            <pc:sldMk cId="1548455647" sldId="1494"/>
            <ac:picMk id="7" creationId="{33FF540A-9F95-4473-AC56-89091A36F1B6}"/>
          </ac:picMkLst>
        </pc:picChg>
        <pc:picChg chg="add del mod topLvl">
          <ac:chgData name="Vincent Kharsyad [Chillibreeze]" userId="7b5f9e7a-8cb6-4e11-ad75-0918041740fe" providerId="ADAL" clId="{9D6E1852-5810-4B53-BDF5-FE17275CA0ED}" dt="2020-07-13T06:08:26.557" v="263" actId="165"/>
          <ac:picMkLst>
            <pc:docMk/>
            <pc:sldMk cId="1548455647" sldId="1494"/>
            <ac:picMk id="23" creationId="{10C4B06F-5978-4D19-98AE-502DD7F94C4C}"/>
          </ac:picMkLst>
        </pc:picChg>
      </pc:sldChg>
      <pc:sldChg chg="addSp delSp modSp mod">
        <pc:chgData name="Vincent Kharsyad [Chillibreeze]" userId="7b5f9e7a-8cb6-4e11-ad75-0918041740fe" providerId="ADAL" clId="{9D6E1852-5810-4B53-BDF5-FE17275CA0ED}" dt="2020-07-13T11:53:34.315" v="1160" actId="465"/>
        <pc:sldMkLst>
          <pc:docMk/>
          <pc:sldMk cId="316322398" sldId="1870"/>
        </pc:sldMkLst>
        <pc:spChg chg="mod">
          <ac:chgData name="Vincent Kharsyad [Chillibreeze]" userId="7b5f9e7a-8cb6-4e11-ad75-0918041740fe" providerId="ADAL" clId="{9D6E1852-5810-4B53-BDF5-FE17275CA0ED}" dt="2020-07-13T11:51:52.283" v="1139" actId="14100"/>
          <ac:spMkLst>
            <pc:docMk/>
            <pc:sldMk cId="316322398" sldId="1870"/>
            <ac:spMk id="8" creationId="{FEF55901-E7BA-48EE-8BC0-03806F181D77}"/>
          </ac:spMkLst>
        </pc:spChg>
        <pc:spChg chg="del mod topLvl">
          <ac:chgData name="Vincent Kharsyad [Chillibreeze]" userId="7b5f9e7a-8cb6-4e11-ad75-0918041740fe" providerId="ADAL" clId="{9D6E1852-5810-4B53-BDF5-FE17275CA0ED}" dt="2020-07-13T11:50:07.543" v="1121" actId="478"/>
          <ac:spMkLst>
            <pc:docMk/>
            <pc:sldMk cId="316322398" sldId="1870"/>
            <ac:spMk id="9" creationId="{3692AEA8-7E4A-456C-B05E-F1C22306820B}"/>
          </ac:spMkLst>
        </pc:spChg>
        <pc:spChg chg="mod">
          <ac:chgData name="Vincent Kharsyad [Chillibreeze]" userId="7b5f9e7a-8cb6-4e11-ad75-0918041740fe" providerId="ADAL" clId="{9D6E1852-5810-4B53-BDF5-FE17275CA0ED}" dt="2020-07-13T11:51:49.353" v="1138" actId="14100"/>
          <ac:spMkLst>
            <pc:docMk/>
            <pc:sldMk cId="316322398" sldId="1870"/>
            <ac:spMk id="10" creationId="{F89B5440-AF9A-4D0F-A1B6-976BA51B2279}"/>
          </ac:spMkLst>
        </pc:spChg>
        <pc:spChg chg="mod">
          <ac:chgData name="Vincent Kharsyad [Chillibreeze]" userId="7b5f9e7a-8cb6-4e11-ad75-0918041740fe" providerId="ADAL" clId="{9D6E1852-5810-4B53-BDF5-FE17275CA0ED}" dt="2020-07-13T11:51:46.753" v="1137" actId="14100"/>
          <ac:spMkLst>
            <pc:docMk/>
            <pc:sldMk cId="316322398" sldId="1870"/>
            <ac:spMk id="12" creationId="{D5409F01-1B08-414F-9928-31BE4B3E29DE}"/>
          </ac:spMkLst>
        </pc:spChg>
        <pc:spChg chg="mod">
          <ac:chgData name="Vincent Kharsyad [Chillibreeze]" userId="7b5f9e7a-8cb6-4e11-ad75-0918041740fe" providerId="ADAL" clId="{9D6E1852-5810-4B53-BDF5-FE17275CA0ED}" dt="2020-07-13T11:51:44.043" v="1136" actId="14100"/>
          <ac:spMkLst>
            <pc:docMk/>
            <pc:sldMk cId="316322398" sldId="1870"/>
            <ac:spMk id="14" creationId="{945A46B6-C7CF-4453-BAAE-03794F485BF4}"/>
          </ac:spMkLst>
        </pc:spChg>
        <pc:spChg chg="mod">
          <ac:chgData name="Vincent Kharsyad [Chillibreeze]" userId="7b5f9e7a-8cb6-4e11-ad75-0918041740fe" providerId="ADAL" clId="{9D6E1852-5810-4B53-BDF5-FE17275CA0ED}" dt="2020-07-13T11:51:55.153" v="1140" actId="14100"/>
          <ac:spMkLst>
            <pc:docMk/>
            <pc:sldMk cId="316322398" sldId="1870"/>
            <ac:spMk id="16" creationId="{8A77DD0C-59C7-4C0F-9BC5-8FAC7F7EECA7}"/>
          </ac:spMkLst>
        </pc:spChg>
        <pc:spChg chg="mod">
          <ac:chgData name="Vincent Kharsyad [Chillibreeze]" userId="7b5f9e7a-8cb6-4e11-ad75-0918041740fe" providerId="ADAL" clId="{9D6E1852-5810-4B53-BDF5-FE17275CA0ED}" dt="2020-07-13T11:50:31.778" v="1133" actId="2711"/>
          <ac:spMkLst>
            <pc:docMk/>
            <pc:sldMk cId="316322398" sldId="1870"/>
            <ac:spMk id="18" creationId="{D2DF32ED-F30C-4A47-90A3-B19FD83B76CD}"/>
          </ac:spMkLst>
        </pc:spChg>
        <pc:spChg chg="mod">
          <ac:chgData name="Vincent Kharsyad [Chillibreeze]" userId="7b5f9e7a-8cb6-4e11-ad75-0918041740fe" providerId="ADAL" clId="{9D6E1852-5810-4B53-BDF5-FE17275CA0ED}" dt="2020-07-13T11:50:31.778" v="1133" actId="2711"/>
          <ac:spMkLst>
            <pc:docMk/>
            <pc:sldMk cId="316322398" sldId="1870"/>
            <ac:spMk id="19" creationId="{4AFB65EE-26A2-4AEF-8BEF-754BC3533E29}"/>
          </ac:spMkLst>
        </pc:spChg>
        <pc:spChg chg="del mod topLvl">
          <ac:chgData name="Vincent Kharsyad [Chillibreeze]" userId="7b5f9e7a-8cb6-4e11-ad75-0918041740fe" providerId="ADAL" clId="{9D6E1852-5810-4B53-BDF5-FE17275CA0ED}" dt="2020-07-13T11:50:09.243" v="1122" actId="478"/>
          <ac:spMkLst>
            <pc:docMk/>
            <pc:sldMk cId="316322398" sldId="1870"/>
            <ac:spMk id="25" creationId="{D0410BEC-672F-43A6-B703-29951F679F6A}"/>
          </ac:spMkLst>
        </pc:spChg>
        <pc:spChg chg="mod topLvl">
          <ac:chgData name="Vincent Kharsyad [Chillibreeze]" userId="7b5f9e7a-8cb6-4e11-ad75-0918041740fe" providerId="ADAL" clId="{9D6E1852-5810-4B53-BDF5-FE17275CA0ED}" dt="2020-07-13T11:50:59.803" v="1135" actId="164"/>
          <ac:spMkLst>
            <pc:docMk/>
            <pc:sldMk cId="316322398" sldId="1870"/>
            <ac:spMk id="26" creationId="{423C33BE-9D6A-4AE9-BAFD-7E4CED6842EB}"/>
          </ac:spMkLst>
        </pc:spChg>
        <pc:spChg chg="mod topLvl">
          <ac:chgData name="Vincent Kharsyad [Chillibreeze]" userId="7b5f9e7a-8cb6-4e11-ad75-0918041740fe" providerId="ADAL" clId="{9D6E1852-5810-4B53-BDF5-FE17275CA0ED}" dt="2020-07-13T11:50:59.803" v="1135" actId="164"/>
          <ac:spMkLst>
            <pc:docMk/>
            <pc:sldMk cId="316322398" sldId="1870"/>
            <ac:spMk id="27" creationId="{91028A9E-5608-4B8B-A4D8-702F002D710E}"/>
          </ac:spMkLst>
        </pc:spChg>
        <pc:spChg chg="del mod topLvl">
          <ac:chgData name="Vincent Kharsyad [Chillibreeze]" userId="7b5f9e7a-8cb6-4e11-ad75-0918041740fe" providerId="ADAL" clId="{9D6E1852-5810-4B53-BDF5-FE17275CA0ED}" dt="2020-07-13T11:50:10.988" v="1123" actId="478"/>
          <ac:spMkLst>
            <pc:docMk/>
            <pc:sldMk cId="316322398" sldId="1870"/>
            <ac:spMk id="28" creationId="{2B3AE821-C386-4321-A328-86B1E015BD3F}"/>
          </ac:spMkLst>
        </pc:spChg>
        <pc:spChg chg="mod topLvl">
          <ac:chgData name="Vincent Kharsyad [Chillibreeze]" userId="7b5f9e7a-8cb6-4e11-ad75-0918041740fe" providerId="ADAL" clId="{9D6E1852-5810-4B53-BDF5-FE17275CA0ED}" dt="2020-07-13T11:52:53.583" v="1150" actId="164"/>
          <ac:spMkLst>
            <pc:docMk/>
            <pc:sldMk cId="316322398" sldId="1870"/>
            <ac:spMk id="29" creationId="{44E1FE4F-44A2-4427-8FF0-3DE8CEBF09EF}"/>
          </ac:spMkLst>
        </pc:spChg>
        <pc:spChg chg="add del mod topLvl">
          <ac:chgData name="Vincent Kharsyad [Chillibreeze]" userId="7b5f9e7a-8cb6-4e11-ad75-0918041740fe" providerId="ADAL" clId="{9D6E1852-5810-4B53-BDF5-FE17275CA0ED}" dt="2020-07-13T11:52:53.583" v="1150" actId="164"/>
          <ac:spMkLst>
            <pc:docMk/>
            <pc:sldMk cId="316322398" sldId="1870"/>
            <ac:spMk id="30" creationId="{D5ADAAFA-F982-467E-8ADF-FBA5F17A153A}"/>
          </ac:spMkLst>
        </pc:spChg>
        <pc:spChg chg="del mod topLvl">
          <ac:chgData name="Vincent Kharsyad [Chillibreeze]" userId="7b5f9e7a-8cb6-4e11-ad75-0918041740fe" providerId="ADAL" clId="{9D6E1852-5810-4B53-BDF5-FE17275CA0ED}" dt="2020-07-13T11:50:13.228" v="1124" actId="478"/>
          <ac:spMkLst>
            <pc:docMk/>
            <pc:sldMk cId="316322398" sldId="1870"/>
            <ac:spMk id="31" creationId="{F3CF75B6-4236-485C-83EE-FA248FE1A2B4}"/>
          </ac:spMkLst>
        </pc:spChg>
        <pc:spChg chg="mod">
          <ac:chgData name="Vincent Kharsyad [Chillibreeze]" userId="7b5f9e7a-8cb6-4e11-ad75-0918041740fe" providerId="ADAL" clId="{9D6E1852-5810-4B53-BDF5-FE17275CA0ED}" dt="2020-07-13T11:50:31.778" v="1133" actId="2711"/>
          <ac:spMkLst>
            <pc:docMk/>
            <pc:sldMk cId="316322398" sldId="1870"/>
            <ac:spMk id="32" creationId="{52C9C4CE-73B1-4B8E-9700-4D21C9E221DF}"/>
          </ac:spMkLst>
        </pc:spChg>
        <pc:spChg chg="mod">
          <ac:chgData name="Vincent Kharsyad [Chillibreeze]" userId="7b5f9e7a-8cb6-4e11-ad75-0918041740fe" providerId="ADAL" clId="{9D6E1852-5810-4B53-BDF5-FE17275CA0ED}" dt="2020-07-13T11:50:31.778" v="1133" actId="2711"/>
          <ac:spMkLst>
            <pc:docMk/>
            <pc:sldMk cId="316322398" sldId="1870"/>
            <ac:spMk id="33" creationId="{60723F4D-8D68-4062-9DE7-1A08CF4E178F}"/>
          </ac:spMkLst>
        </pc:spChg>
        <pc:spChg chg="del mod topLvl">
          <ac:chgData name="Vincent Kharsyad [Chillibreeze]" userId="7b5f9e7a-8cb6-4e11-ad75-0918041740fe" providerId="ADAL" clId="{9D6E1852-5810-4B53-BDF5-FE17275CA0ED}" dt="2020-07-13T11:50:15.033" v="1125" actId="478"/>
          <ac:spMkLst>
            <pc:docMk/>
            <pc:sldMk cId="316322398" sldId="1870"/>
            <ac:spMk id="34" creationId="{CEBF1C79-FDD9-4AE3-8BB8-F8643965CB1F}"/>
          </ac:spMkLst>
        </pc:spChg>
        <pc:spChg chg="mod">
          <ac:chgData name="Vincent Kharsyad [Chillibreeze]" userId="7b5f9e7a-8cb6-4e11-ad75-0918041740fe" providerId="ADAL" clId="{9D6E1852-5810-4B53-BDF5-FE17275CA0ED}" dt="2020-07-13T11:50:31.778" v="1133" actId="2711"/>
          <ac:spMkLst>
            <pc:docMk/>
            <pc:sldMk cId="316322398" sldId="1870"/>
            <ac:spMk id="35" creationId="{F49F6868-05F1-4EE4-A1A2-F0A08C944653}"/>
          </ac:spMkLst>
        </pc:spChg>
        <pc:spChg chg="mod">
          <ac:chgData name="Vincent Kharsyad [Chillibreeze]" userId="7b5f9e7a-8cb6-4e11-ad75-0918041740fe" providerId="ADAL" clId="{9D6E1852-5810-4B53-BDF5-FE17275CA0ED}" dt="2020-07-13T11:50:31.778" v="1133" actId="2711"/>
          <ac:spMkLst>
            <pc:docMk/>
            <pc:sldMk cId="316322398" sldId="1870"/>
            <ac:spMk id="36" creationId="{D1862062-183F-4FD5-B71D-DB7202ABE5E4}"/>
          </ac:spMkLst>
        </pc:spChg>
        <pc:grpChg chg="del mod topLvl">
          <ac:chgData name="Vincent Kharsyad [Chillibreeze]" userId="7b5f9e7a-8cb6-4e11-ad75-0918041740fe" providerId="ADAL" clId="{9D6E1852-5810-4B53-BDF5-FE17275CA0ED}" dt="2020-07-13T11:52:16.433" v="1141" actId="21"/>
          <ac:grpSpMkLst>
            <pc:docMk/>
            <pc:sldMk cId="316322398" sldId="1870"/>
            <ac:grpSpMk id="3" creationId="{15167BAF-F5B3-4916-9CA4-0C636BD9AE61}"/>
          </ac:grpSpMkLst>
        </pc:grpChg>
        <pc:grpChg chg="del mod topLvl">
          <ac:chgData name="Vincent Kharsyad [Chillibreeze]" userId="7b5f9e7a-8cb6-4e11-ad75-0918041740fe" providerId="ADAL" clId="{9D6E1852-5810-4B53-BDF5-FE17275CA0ED}" dt="2020-07-13T11:50:03.146" v="1119" actId="165"/>
          <ac:grpSpMkLst>
            <pc:docMk/>
            <pc:sldMk cId="316322398" sldId="1870"/>
            <ac:grpSpMk id="11" creationId="{3409145F-D102-46C3-96B4-F2B4DFA27825}"/>
          </ac:grpSpMkLst>
        </pc:grpChg>
        <pc:grpChg chg="del mod topLvl">
          <ac:chgData name="Vincent Kharsyad [Chillibreeze]" userId="7b5f9e7a-8cb6-4e11-ad75-0918041740fe" providerId="ADAL" clId="{9D6E1852-5810-4B53-BDF5-FE17275CA0ED}" dt="2020-07-13T11:50:03.146" v="1119" actId="165"/>
          <ac:grpSpMkLst>
            <pc:docMk/>
            <pc:sldMk cId="316322398" sldId="1870"/>
            <ac:grpSpMk id="13" creationId="{FFD10864-2816-4111-8217-EAC7538296B1}"/>
          </ac:grpSpMkLst>
        </pc:grpChg>
        <pc:grpChg chg="add del mod">
          <ac:chgData name="Vincent Kharsyad [Chillibreeze]" userId="7b5f9e7a-8cb6-4e11-ad75-0918041740fe" providerId="ADAL" clId="{9D6E1852-5810-4B53-BDF5-FE17275CA0ED}" dt="2020-07-13T11:50:03.146" v="1119" actId="165"/>
          <ac:grpSpMkLst>
            <pc:docMk/>
            <pc:sldMk cId="316322398" sldId="1870"/>
            <ac:grpSpMk id="15" creationId="{84FD1F89-1299-4BA5-98AF-71499E635121}"/>
          </ac:grpSpMkLst>
        </pc:grpChg>
        <pc:grpChg chg="del mod topLvl">
          <ac:chgData name="Vincent Kharsyad [Chillibreeze]" userId="7b5f9e7a-8cb6-4e11-ad75-0918041740fe" providerId="ADAL" clId="{9D6E1852-5810-4B53-BDF5-FE17275CA0ED}" dt="2020-07-13T11:53:08.963" v="1154" actId="21"/>
          <ac:grpSpMkLst>
            <pc:docMk/>
            <pc:sldMk cId="316322398" sldId="1870"/>
            <ac:grpSpMk id="17" creationId="{FCD9D178-B709-4304-8757-516935F2A898}"/>
          </ac:grpSpMkLst>
        </pc:grpChg>
        <pc:grpChg chg="del mod topLvl">
          <ac:chgData name="Vincent Kharsyad [Chillibreeze]" userId="7b5f9e7a-8cb6-4e11-ad75-0918041740fe" providerId="ADAL" clId="{9D6E1852-5810-4B53-BDF5-FE17275CA0ED}" dt="2020-07-13T11:53:22.128" v="1157" actId="21"/>
          <ac:grpSpMkLst>
            <pc:docMk/>
            <pc:sldMk cId="316322398" sldId="1870"/>
            <ac:grpSpMk id="20" creationId="{646710C9-0E0B-4806-B494-78B1A60C323E}"/>
          </ac:grpSpMkLst>
        </pc:grpChg>
        <pc:grpChg chg="del">
          <ac:chgData name="Vincent Kharsyad [Chillibreeze]" userId="7b5f9e7a-8cb6-4e11-ad75-0918041740fe" providerId="ADAL" clId="{9D6E1852-5810-4B53-BDF5-FE17275CA0ED}" dt="2020-07-13T11:48:55.393" v="1099" actId="165"/>
          <ac:grpSpMkLst>
            <pc:docMk/>
            <pc:sldMk cId="316322398" sldId="1870"/>
            <ac:grpSpMk id="21" creationId="{63A1B2B1-D8BC-43E9-9844-BA37E18474C9}"/>
          </ac:grpSpMkLst>
        </pc:grpChg>
        <pc:grpChg chg="del">
          <ac:chgData name="Vincent Kharsyad [Chillibreeze]" userId="7b5f9e7a-8cb6-4e11-ad75-0918041740fe" providerId="ADAL" clId="{9D6E1852-5810-4B53-BDF5-FE17275CA0ED}" dt="2020-07-13T11:48:55.393" v="1099" actId="165"/>
          <ac:grpSpMkLst>
            <pc:docMk/>
            <pc:sldMk cId="316322398" sldId="1870"/>
            <ac:grpSpMk id="22" creationId="{6A67E161-FC00-4EA6-B421-B365273D9925}"/>
          </ac:grpSpMkLst>
        </pc:grpChg>
        <pc:grpChg chg="del">
          <ac:chgData name="Vincent Kharsyad [Chillibreeze]" userId="7b5f9e7a-8cb6-4e11-ad75-0918041740fe" providerId="ADAL" clId="{9D6E1852-5810-4B53-BDF5-FE17275CA0ED}" dt="2020-07-13T11:48:55.393" v="1099" actId="165"/>
          <ac:grpSpMkLst>
            <pc:docMk/>
            <pc:sldMk cId="316322398" sldId="1870"/>
            <ac:grpSpMk id="23" creationId="{3D9058B6-548B-4746-95FF-6D1139156FFA}"/>
          </ac:grpSpMkLst>
        </pc:grpChg>
        <pc:grpChg chg="del">
          <ac:chgData name="Vincent Kharsyad [Chillibreeze]" userId="7b5f9e7a-8cb6-4e11-ad75-0918041740fe" providerId="ADAL" clId="{9D6E1852-5810-4B53-BDF5-FE17275CA0ED}" dt="2020-07-13T11:48:55.393" v="1099" actId="165"/>
          <ac:grpSpMkLst>
            <pc:docMk/>
            <pc:sldMk cId="316322398" sldId="1870"/>
            <ac:grpSpMk id="24" creationId="{25491E4A-E6AC-451C-864A-E82F9226D8CC}"/>
          </ac:grpSpMkLst>
        </pc:grpChg>
        <pc:grpChg chg="del">
          <ac:chgData name="Vincent Kharsyad [Chillibreeze]" userId="7b5f9e7a-8cb6-4e11-ad75-0918041740fe" providerId="ADAL" clId="{9D6E1852-5810-4B53-BDF5-FE17275CA0ED}" dt="2020-07-13T11:48:55.393" v="1099" actId="165"/>
          <ac:grpSpMkLst>
            <pc:docMk/>
            <pc:sldMk cId="316322398" sldId="1870"/>
            <ac:grpSpMk id="37" creationId="{A405C499-62A9-421C-BF36-AE140C715C31}"/>
          </ac:grpSpMkLst>
        </pc:grpChg>
        <pc:grpChg chg="add del mod">
          <ac:chgData name="Vincent Kharsyad [Chillibreeze]" userId="7b5f9e7a-8cb6-4e11-ad75-0918041740fe" providerId="ADAL" clId="{9D6E1852-5810-4B53-BDF5-FE17275CA0ED}" dt="2020-07-13T11:49:57.193" v="1117" actId="165"/>
          <ac:grpSpMkLst>
            <pc:docMk/>
            <pc:sldMk cId="316322398" sldId="1870"/>
            <ac:grpSpMk id="38" creationId="{B3EFCCB9-D617-4ECC-AE2E-6519821639E8}"/>
          </ac:grpSpMkLst>
        </pc:grpChg>
        <pc:grpChg chg="add del mod">
          <ac:chgData name="Vincent Kharsyad [Chillibreeze]" userId="7b5f9e7a-8cb6-4e11-ad75-0918041740fe" providerId="ADAL" clId="{9D6E1852-5810-4B53-BDF5-FE17275CA0ED}" dt="2020-07-13T11:49:59.646" v="1118" actId="165"/>
          <ac:grpSpMkLst>
            <pc:docMk/>
            <pc:sldMk cId="316322398" sldId="1870"/>
            <ac:grpSpMk id="39" creationId="{D673DE91-2F3C-414F-8810-B7D233043E50}"/>
          </ac:grpSpMkLst>
        </pc:grpChg>
        <pc:grpChg chg="add del mod">
          <ac:chgData name="Vincent Kharsyad [Chillibreeze]" userId="7b5f9e7a-8cb6-4e11-ad75-0918041740fe" providerId="ADAL" clId="{9D6E1852-5810-4B53-BDF5-FE17275CA0ED}" dt="2020-07-13T11:50:03.146" v="1119" actId="165"/>
          <ac:grpSpMkLst>
            <pc:docMk/>
            <pc:sldMk cId="316322398" sldId="1870"/>
            <ac:grpSpMk id="40" creationId="{88C08691-1D01-4B91-B553-D55B6ADDBF46}"/>
          </ac:grpSpMkLst>
        </pc:grpChg>
        <pc:grpChg chg="add del mod">
          <ac:chgData name="Vincent Kharsyad [Chillibreeze]" userId="7b5f9e7a-8cb6-4e11-ad75-0918041740fe" providerId="ADAL" clId="{9D6E1852-5810-4B53-BDF5-FE17275CA0ED}" dt="2020-07-13T11:50:03.146" v="1119" actId="165"/>
          <ac:grpSpMkLst>
            <pc:docMk/>
            <pc:sldMk cId="316322398" sldId="1870"/>
            <ac:grpSpMk id="41" creationId="{A182E022-D219-4E47-8314-62B18C6DEDAD}"/>
          </ac:grpSpMkLst>
        </pc:grpChg>
        <pc:grpChg chg="add del mod">
          <ac:chgData name="Vincent Kharsyad [Chillibreeze]" userId="7b5f9e7a-8cb6-4e11-ad75-0918041740fe" providerId="ADAL" clId="{9D6E1852-5810-4B53-BDF5-FE17275CA0ED}" dt="2020-07-13T11:52:30.338" v="1144" actId="21"/>
          <ac:grpSpMkLst>
            <pc:docMk/>
            <pc:sldMk cId="316322398" sldId="1870"/>
            <ac:grpSpMk id="42" creationId="{EB75CCBA-CCEA-4F8D-B482-93775754E9DF}"/>
          </ac:grpSpMkLst>
        </pc:grpChg>
        <pc:grpChg chg="add del mod">
          <ac:chgData name="Vincent Kharsyad [Chillibreeze]" userId="7b5f9e7a-8cb6-4e11-ad75-0918041740fe" providerId="ADAL" clId="{9D6E1852-5810-4B53-BDF5-FE17275CA0ED}" dt="2020-07-13T11:52:56.109" v="1151" actId="21"/>
          <ac:grpSpMkLst>
            <pc:docMk/>
            <pc:sldMk cId="316322398" sldId="1870"/>
            <ac:grpSpMk id="45" creationId="{DA427F92-D5D9-4F26-BEBF-A51A980C84FE}"/>
          </ac:grpSpMkLst>
        </pc:grpChg>
        <pc:picChg chg="mod">
          <ac:chgData name="Vincent Kharsyad [Chillibreeze]" userId="7b5f9e7a-8cb6-4e11-ad75-0918041740fe" providerId="ADAL" clId="{9D6E1852-5810-4B53-BDF5-FE17275CA0ED}" dt="2020-07-13T11:52:43.103" v="1147" actId="552"/>
          <ac:picMkLst>
            <pc:docMk/>
            <pc:sldMk cId="316322398" sldId="1870"/>
            <ac:picMk id="43" creationId="{53EA691F-846C-4933-A0B3-6DF4D24A223C}"/>
          </ac:picMkLst>
        </pc:picChg>
        <pc:picChg chg="mod">
          <ac:chgData name="Vincent Kharsyad [Chillibreeze]" userId="7b5f9e7a-8cb6-4e11-ad75-0918041740fe" providerId="ADAL" clId="{9D6E1852-5810-4B53-BDF5-FE17275CA0ED}" dt="2020-07-13T11:53:34.315" v="1160" actId="465"/>
          <ac:picMkLst>
            <pc:docMk/>
            <pc:sldMk cId="316322398" sldId="1870"/>
            <ac:picMk id="44" creationId="{04424C29-F1B5-4752-9AC1-0AB190BA74E9}"/>
          </ac:picMkLst>
        </pc:picChg>
        <pc:picChg chg="mod">
          <ac:chgData name="Vincent Kharsyad [Chillibreeze]" userId="7b5f9e7a-8cb6-4e11-ad75-0918041740fe" providerId="ADAL" clId="{9D6E1852-5810-4B53-BDF5-FE17275CA0ED}" dt="2020-07-13T11:53:34.315" v="1160" actId="465"/>
          <ac:picMkLst>
            <pc:docMk/>
            <pc:sldMk cId="316322398" sldId="1870"/>
            <ac:picMk id="46" creationId="{918772B7-A65E-4497-8281-773B6157AB6E}"/>
          </ac:picMkLst>
        </pc:picChg>
        <pc:picChg chg="mod">
          <ac:chgData name="Vincent Kharsyad [Chillibreeze]" userId="7b5f9e7a-8cb6-4e11-ad75-0918041740fe" providerId="ADAL" clId="{9D6E1852-5810-4B53-BDF5-FE17275CA0ED}" dt="2020-07-13T11:53:34.315" v="1160" actId="465"/>
          <ac:picMkLst>
            <pc:docMk/>
            <pc:sldMk cId="316322398" sldId="1870"/>
            <ac:picMk id="47" creationId="{25FABAF2-B88C-4E4C-B7EF-5E53A6BEE75F}"/>
          </ac:picMkLst>
        </pc:picChg>
        <pc:picChg chg="mod">
          <ac:chgData name="Vincent Kharsyad [Chillibreeze]" userId="7b5f9e7a-8cb6-4e11-ad75-0918041740fe" providerId="ADAL" clId="{9D6E1852-5810-4B53-BDF5-FE17275CA0ED}" dt="2020-07-13T11:53:29.397" v="1159" actId="552"/>
          <ac:picMkLst>
            <pc:docMk/>
            <pc:sldMk cId="316322398" sldId="1870"/>
            <ac:picMk id="48" creationId="{B1ED577F-FA0F-4DFA-A310-45CBA6BA3866}"/>
          </ac:picMkLst>
        </pc:picChg>
      </pc:sldChg>
      <pc:sldChg chg="modSp">
        <pc:chgData name="Vincent Kharsyad [Chillibreeze]" userId="7b5f9e7a-8cb6-4e11-ad75-0918041740fe" providerId="ADAL" clId="{9D6E1852-5810-4B53-BDF5-FE17275CA0ED}" dt="2020-07-13T04:59:06.528" v="99"/>
        <pc:sldMkLst>
          <pc:docMk/>
          <pc:sldMk cId="3665884044" sldId="1871"/>
        </pc:sldMkLst>
        <pc:spChg chg="mod">
          <ac:chgData name="Vincent Kharsyad [Chillibreeze]" userId="7b5f9e7a-8cb6-4e11-ad75-0918041740fe" providerId="ADAL" clId="{9D6E1852-5810-4B53-BDF5-FE17275CA0ED}" dt="2020-07-13T04:59:06.528" v="99"/>
          <ac:spMkLst>
            <pc:docMk/>
            <pc:sldMk cId="3665884044" sldId="1871"/>
            <ac:spMk id="2" creationId="{5F359BF1-DFBD-478C-ACA3-333D99FCFEDF}"/>
          </ac:spMkLst>
        </pc:spChg>
      </pc:sldChg>
      <pc:sldChg chg="addSp delSp modSp mod">
        <pc:chgData name="Vincent Kharsyad [Chillibreeze]" userId="7b5f9e7a-8cb6-4e11-ad75-0918041740fe" providerId="ADAL" clId="{9D6E1852-5810-4B53-BDF5-FE17275CA0ED}" dt="2020-07-13T07:02:10.383" v="295" actId="478"/>
        <pc:sldMkLst>
          <pc:docMk/>
          <pc:sldMk cId="2969652716" sldId="1909"/>
        </pc:sldMkLst>
        <pc:spChg chg="add del mod ord">
          <ac:chgData name="Vincent Kharsyad [Chillibreeze]" userId="7b5f9e7a-8cb6-4e11-ad75-0918041740fe" providerId="ADAL" clId="{9D6E1852-5810-4B53-BDF5-FE17275CA0ED}" dt="2020-07-13T07:02:10.383" v="295" actId="478"/>
          <ac:spMkLst>
            <pc:docMk/>
            <pc:sldMk cId="2969652716" sldId="1909"/>
            <ac:spMk id="5" creationId="{145F8585-03F7-49FF-BB89-4CD6ACF4CF5D}"/>
          </ac:spMkLst>
        </pc:spChg>
        <pc:picChg chg="mod">
          <ac:chgData name="Vincent Kharsyad [Chillibreeze]" userId="7b5f9e7a-8cb6-4e11-ad75-0918041740fe" providerId="ADAL" clId="{9D6E1852-5810-4B53-BDF5-FE17275CA0ED}" dt="2020-07-13T07:02:08.481" v="294" actId="12788"/>
          <ac:picMkLst>
            <pc:docMk/>
            <pc:sldMk cId="2969652716" sldId="1909"/>
            <ac:picMk id="3" creationId="{E318A819-CFD2-4CDE-967A-FF80F1397F3D}"/>
          </ac:picMkLst>
        </pc:picChg>
      </pc:sldChg>
      <pc:sldChg chg="addSp delSp modSp mod">
        <pc:chgData name="Vincent Kharsyad [Chillibreeze]" userId="7b5f9e7a-8cb6-4e11-ad75-0918041740fe" providerId="ADAL" clId="{9D6E1852-5810-4B53-BDF5-FE17275CA0ED}" dt="2020-07-13T07:02:25.286" v="300" actId="478"/>
        <pc:sldMkLst>
          <pc:docMk/>
          <pc:sldMk cId="3198846091" sldId="1912"/>
        </pc:sldMkLst>
        <pc:spChg chg="add del mod ord">
          <ac:chgData name="Vincent Kharsyad [Chillibreeze]" userId="7b5f9e7a-8cb6-4e11-ad75-0918041740fe" providerId="ADAL" clId="{9D6E1852-5810-4B53-BDF5-FE17275CA0ED}" dt="2020-07-13T07:02:25.286" v="300" actId="478"/>
          <ac:spMkLst>
            <pc:docMk/>
            <pc:sldMk cId="3198846091" sldId="1912"/>
            <ac:spMk id="5" creationId="{C09F8D41-DB47-41B1-ACB2-7CF50430D796}"/>
          </ac:spMkLst>
        </pc:spChg>
        <pc:picChg chg="mod">
          <ac:chgData name="Vincent Kharsyad [Chillibreeze]" userId="7b5f9e7a-8cb6-4e11-ad75-0918041740fe" providerId="ADAL" clId="{9D6E1852-5810-4B53-BDF5-FE17275CA0ED}" dt="2020-07-13T07:02:23.288" v="299" actId="12789"/>
          <ac:picMkLst>
            <pc:docMk/>
            <pc:sldMk cId="3198846091" sldId="1912"/>
            <ac:picMk id="3" creationId="{F6DA0743-00B1-4C27-8265-AABACB262B70}"/>
          </ac:picMkLst>
        </pc:picChg>
      </pc:sldChg>
      <pc:sldChg chg="addSp delSp modSp mod">
        <pc:chgData name="Vincent Kharsyad [Chillibreeze]" userId="7b5f9e7a-8cb6-4e11-ad75-0918041740fe" providerId="ADAL" clId="{9D6E1852-5810-4B53-BDF5-FE17275CA0ED}" dt="2020-07-13T07:02:38.194" v="305" actId="478"/>
        <pc:sldMkLst>
          <pc:docMk/>
          <pc:sldMk cId="2110664733" sldId="1913"/>
        </pc:sldMkLst>
        <pc:spChg chg="add del mod ord">
          <ac:chgData name="Vincent Kharsyad [Chillibreeze]" userId="7b5f9e7a-8cb6-4e11-ad75-0918041740fe" providerId="ADAL" clId="{9D6E1852-5810-4B53-BDF5-FE17275CA0ED}" dt="2020-07-13T07:02:38.194" v="305" actId="478"/>
          <ac:spMkLst>
            <pc:docMk/>
            <pc:sldMk cId="2110664733" sldId="1913"/>
            <ac:spMk id="5" creationId="{BA6C0AB1-7174-4D05-9044-488740520B2A}"/>
          </ac:spMkLst>
        </pc:spChg>
        <pc:picChg chg="mod">
          <ac:chgData name="Vincent Kharsyad [Chillibreeze]" userId="7b5f9e7a-8cb6-4e11-ad75-0918041740fe" providerId="ADAL" clId="{9D6E1852-5810-4B53-BDF5-FE17275CA0ED}" dt="2020-07-13T07:02:35.728" v="304" actId="12788"/>
          <ac:picMkLst>
            <pc:docMk/>
            <pc:sldMk cId="2110664733" sldId="1913"/>
            <ac:picMk id="2" creationId="{714A7914-1FC8-451B-B923-58B885C4E204}"/>
          </ac:picMkLst>
        </pc:picChg>
      </pc:sldChg>
      <pc:sldChg chg="modSp mod">
        <pc:chgData name="Vincent Kharsyad [Chillibreeze]" userId="7b5f9e7a-8cb6-4e11-ad75-0918041740fe" providerId="ADAL" clId="{9D6E1852-5810-4B53-BDF5-FE17275CA0ED}" dt="2020-07-13T04:21:00.042" v="4" actId="20577"/>
        <pc:sldMkLst>
          <pc:docMk/>
          <pc:sldMk cId="2543009755" sldId="1938"/>
        </pc:sldMkLst>
        <pc:spChg chg="mod">
          <ac:chgData name="Vincent Kharsyad [Chillibreeze]" userId="7b5f9e7a-8cb6-4e11-ad75-0918041740fe" providerId="ADAL" clId="{9D6E1852-5810-4B53-BDF5-FE17275CA0ED}" dt="2020-07-13T04:21:00.042" v="4" actId="20577"/>
          <ac:spMkLst>
            <pc:docMk/>
            <pc:sldMk cId="2543009755" sldId="1938"/>
            <ac:spMk id="2" creationId="{06456474-6022-48BB-A434-CF09068ED1E2}"/>
          </ac:spMkLst>
        </pc:spChg>
      </pc:sldChg>
      <pc:sldChg chg="addSp delSp modSp mod">
        <pc:chgData name="Vincent Kharsyad [Chillibreeze]" userId="7b5f9e7a-8cb6-4e11-ad75-0918041740fe" providerId="ADAL" clId="{9D6E1852-5810-4B53-BDF5-FE17275CA0ED}" dt="2020-07-13T07:02:45.447" v="306" actId="478"/>
        <pc:sldMkLst>
          <pc:docMk/>
          <pc:sldMk cId="1617877780" sldId="1939"/>
        </pc:sldMkLst>
        <pc:spChg chg="mod">
          <ac:chgData name="Vincent Kharsyad [Chillibreeze]" userId="7b5f9e7a-8cb6-4e11-ad75-0918041740fe" providerId="ADAL" clId="{9D6E1852-5810-4B53-BDF5-FE17275CA0ED}" dt="2020-07-13T04:21:09.112" v="6" actId="20577"/>
          <ac:spMkLst>
            <pc:docMk/>
            <pc:sldMk cId="1617877780" sldId="1939"/>
            <ac:spMk id="4" creationId="{0CD8665D-5A50-4F07-9D33-48CCD3FD74C7}"/>
          </ac:spMkLst>
        </pc:spChg>
        <pc:spChg chg="add del mod">
          <ac:chgData name="Vincent Kharsyad [Chillibreeze]" userId="7b5f9e7a-8cb6-4e11-ad75-0918041740fe" providerId="ADAL" clId="{9D6E1852-5810-4B53-BDF5-FE17275CA0ED}" dt="2020-07-13T07:02:45.447" v="306" actId="478"/>
          <ac:spMkLst>
            <pc:docMk/>
            <pc:sldMk cId="1617877780" sldId="1939"/>
            <ac:spMk id="6" creationId="{7E3E9D21-09C7-4C8E-89C1-16FF31FE36AA}"/>
          </ac:spMkLst>
        </pc:spChg>
        <pc:picChg chg="del">
          <ac:chgData name="Vincent Kharsyad [Chillibreeze]" userId="7b5f9e7a-8cb6-4e11-ad75-0918041740fe" providerId="ADAL" clId="{9D6E1852-5810-4B53-BDF5-FE17275CA0ED}" dt="2020-07-13T04:21:33.062" v="7" actId="478"/>
          <ac:picMkLst>
            <pc:docMk/>
            <pc:sldMk cId="1617877780" sldId="1939"/>
            <ac:picMk id="3" creationId="{7032BA89-7D49-4545-BF3A-CB2FADD7D188}"/>
          </ac:picMkLst>
        </pc:picChg>
        <pc:picChg chg="add mod">
          <ac:chgData name="Vincent Kharsyad [Chillibreeze]" userId="7b5f9e7a-8cb6-4e11-ad75-0918041740fe" providerId="ADAL" clId="{9D6E1852-5810-4B53-BDF5-FE17275CA0ED}" dt="2020-07-13T04:23:14.882" v="18" actId="1076"/>
          <ac:picMkLst>
            <pc:docMk/>
            <pc:sldMk cId="1617877780" sldId="1939"/>
            <ac:picMk id="5" creationId="{631FB690-BAB3-4C7E-B487-466AEC932A1F}"/>
          </ac:picMkLst>
        </pc:picChg>
      </pc:sldChg>
      <pc:sldChg chg="addSp delSp modSp mod">
        <pc:chgData name="Vincent Kharsyad [Chillibreeze]" userId="7b5f9e7a-8cb6-4e11-ad75-0918041740fe" providerId="ADAL" clId="{9D6E1852-5810-4B53-BDF5-FE17275CA0ED}" dt="2020-07-13T11:42:14.951" v="1070" actId="962"/>
        <pc:sldMkLst>
          <pc:docMk/>
          <pc:sldMk cId="1796562944" sldId="1940"/>
        </pc:sldMkLst>
        <pc:spChg chg="mod ord">
          <ac:chgData name="Vincent Kharsyad [Chillibreeze]" userId="7b5f9e7a-8cb6-4e11-ad75-0918041740fe" providerId="ADAL" clId="{9D6E1852-5810-4B53-BDF5-FE17275CA0ED}" dt="2020-07-13T10:50:59.008" v="490" actId="166"/>
          <ac:spMkLst>
            <pc:docMk/>
            <pc:sldMk cId="1796562944" sldId="1940"/>
            <ac:spMk id="2" creationId="{D0161B9C-B4A1-4E8B-BDD0-8D4B9DE9519A}"/>
          </ac:spMkLst>
        </pc:spChg>
        <pc:spChg chg="add del mod">
          <ac:chgData name="Vincent Kharsyad [Chillibreeze]" userId="7b5f9e7a-8cb6-4e11-ad75-0918041740fe" providerId="ADAL" clId="{9D6E1852-5810-4B53-BDF5-FE17275CA0ED}" dt="2020-07-13T04:47:57.484" v="37"/>
          <ac:spMkLst>
            <pc:docMk/>
            <pc:sldMk cId="1796562944" sldId="1940"/>
            <ac:spMk id="3" creationId="{F83E8296-C41F-4988-9EB2-AB1166115372}"/>
          </ac:spMkLst>
        </pc:spChg>
        <pc:spChg chg="mod topLvl">
          <ac:chgData name="Vincent Kharsyad [Chillibreeze]" userId="7b5f9e7a-8cb6-4e11-ad75-0918041740fe" providerId="ADAL" clId="{9D6E1852-5810-4B53-BDF5-FE17275CA0ED}" dt="2020-07-13T09:26:27.617" v="473" actId="164"/>
          <ac:spMkLst>
            <pc:docMk/>
            <pc:sldMk cId="1796562944" sldId="1940"/>
            <ac:spMk id="5" creationId="{779FE513-FC64-4BCA-919C-C60979EED512}"/>
          </ac:spMkLst>
        </pc:spChg>
        <pc:spChg chg="mod topLvl">
          <ac:chgData name="Vincent Kharsyad [Chillibreeze]" userId="7b5f9e7a-8cb6-4e11-ad75-0918041740fe" providerId="ADAL" clId="{9D6E1852-5810-4B53-BDF5-FE17275CA0ED}" dt="2020-07-13T09:26:27.617" v="473" actId="164"/>
          <ac:spMkLst>
            <pc:docMk/>
            <pc:sldMk cId="1796562944" sldId="1940"/>
            <ac:spMk id="6" creationId="{A2A19AB2-89B0-475E-866C-8A01DE739D25}"/>
          </ac:spMkLst>
        </pc:spChg>
        <pc:spChg chg="add del mod">
          <ac:chgData name="Vincent Kharsyad [Chillibreeze]" userId="7b5f9e7a-8cb6-4e11-ad75-0918041740fe" providerId="ADAL" clId="{9D6E1852-5810-4B53-BDF5-FE17275CA0ED}" dt="2020-07-13T04:47:58.042" v="38"/>
          <ac:spMkLst>
            <pc:docMk/>
            <pc:sldMk cId="1796562944" sldId="1940"/>
            <ac:spMk id="7" creationId="{2B97F5B8-F0D9-422A-9029-7EB97D8D7C23}"/>
          </ac:spMkLst>
        </pc:spChg>
        <pc:spChg chg="del mod">
          <ac:chgData name="Vincent Kharsyad [Chillibreeze]" userId="7b5f9e7a-8cb6-4e11-ad75-0918041740fe" providerId="ADAL" clId="{9D6E1852-5810-4B53-BDF5-FE17275CA0ED}" dt="2020-07-13T10:57:38.786" v="550" actId="21"/>
          <ac:spMkLst>
            <pc:docMk/>
            <pc:sldMk cId="1796562944" sldId="1940"/>
            <ac:spMk id="8" creationId="{8D1755F2-E779-46F6-9486-D8FE533CE7C5}"/>
          </ac:spMkLst>
        </pc:spChg>
        <pc:spChg chg="mod">
          <ac:chgData name="Vincent Kharsyad [Chillibreeze]" userId="7b5f9e7a-8cb6-4e11-ad75-0918041740fe" providerId="ADAL" clId="{9D6E1852-5810-4B53-BDF5-FE17275CA0ED}" dt="2020-07-13T09:26:02.222" v="470" actId="165"/>
          <ac:spMkLst>
            <pc:docMk/>
            <pc:sldMk cId="1796562944" sldId="1940"/>
            <ac:spMk id="10" creationId="{9D5ACDCD-4DC1-4434-B4FE-AF280CCA84E0}"/>
          </ac:spMkLst>
        </pc:spChg>
        <pc:spChg chg="mod">
          <ac:chgData name="Vincent Kharsyad [Chillibreeze]" userId="7b5f9e7a-8cb6-4e11-ad75-0918041740fe" providerId="ADAL" clId="{9D6E1852-5810-4B53-BDF5-FE17275CA0ED}" dt="2020-07-13T09:26:02.222" v="470" actId="165"/>
          <ac:spMkLst>
            <pc:docMk/>
            <pc:sldMk cId="1796562944" sldId="1940"/>
            <ac:spMk id="11" creationId="{AB44A50A-FD21-4AB0-A5A7-464503E14D69}"/>
          </ac:spMkLst>
        </pc:spChg>
        <pc:spChg chg="add del mod">
          <ac:chgData name="Vincent Kharsyad [Chillibreeze]" userId="7b5f9e7a-8cb6-4e11-ad75-0918041740fe" providerId="ADAL" clId="{9D6E1852-5810-4B53-BDF5-FE17275CA0ED}" dt="2020-07-13T04:47:58.226" v="39"/>
          <ac:spMkLst>
            <pc:docMk/>
            <pc:sldMk cId="1796562944" sldId="1940"/>
            <ac:spMk id="12" creationId="{5D1EE790-EADC-412F-AC46-77737707B1C5}"/>
          </ac:spMkLst>
        </pc:spChg>
        <pc:spChg chg="del mod">
          <ac:chgData name="Vincent Kharsyad [Chillibreeze]" userId="7b5f9e7a-8cb6-4e11-ad75-0918041740fe" providerId="ADAL" clId="{9D6E1852-5810-4B53-BDF5-FE17275CA0ED}" dt="2020-07-13T10:57:49.877" v="554" actId="21"/>
          <ac:spMkLst>
            <pc:docMk/>
            <pc:sldMk cId="1796562944" sldId="1940"/>
            <ac:spMk id="13" creationId="{4A6377D6-A59A-43AB-973B-2CB5CC71E554}"/>
          </ac:spMkLst>
        </pc:spChg>
        <pc:spChg chg="mod">
          <ac:chgData name="Vincent Kharsyad [Chillibreeze]" userId="7b5f9e7a-8cb6-4e11-ad75-0918041740fe" providerId="ADAL" clId="{9D6E1852-5810-4B53-BDF5-FE17275CA0ED}" dt="2020-07-13T09:26:02.222" v="470" actId="165"/>
          <ac:spMkLst>
            <pc:docMk/>
            <pc:sldMk cId="1796562944" sldId="1940"/>
            <ac:spMk id="15" creationId="{7346D3AF-A27C-4E58-A4EE-70D2A008BE47}"/>
          </ac:spMkLst>
        </pc:spChg>
        <pc:spChg chg="mod">
          <ac:chgData name="Vincent Kharsyad [Chillibreeze]" userId="7b5f9e7a-8cb6-4e11-ad75-0918041740fe" providerId="ADAL" clId="{9D6E1852-5810-4B53-BDF5-FE17275CA0ED}" dt="2020-07-13T09:26:02.222" v="470" actId="165"/>
          <ac:spMkLst>
            <pc:docMk/>
            <pc:sldMk cId="1796562944" sldId="1940"/>
            <ac:spMk id="16" creationId="{BDF00DB9-D031-41A7-B05B-C3C110E79128}"/>
          </ac:spMkLst>
        </pc:spChg>
        <pc:spChg chg="add del mod">
          <ac:chgData name="Vincent Kharsyad [Chillibreeze]" userId="7b5f9e7a-8cb6-4e11-ad75-0918041740fe" providerId="ADAL" clId="{9D6E1852-5810-4B53-BDF5-FE17275CA0ED}" dt="2020-07-13T04:48:05.716" v="40"/>
          <ac:spMkLst>
            <pc:docMk/>
            <pc:sldMk cId="1796562944" sldId="1940"/>
            <ac:spMk id="17" creationId="{64C3E0C7-64E6-4932-9333-7EBF914EA54E}"/>
          </ac:spMkLst>
        </pc:spChg>
        <pc:spChg chg="del mod">
          <ac:chgData name="Vincent Kharsyad [Chillibreeze]" userId="7b5f9e7a-8cb6-4e11-ad75-0918041740fe" providerId="ADAL" clId="{9D6E1852-5810-4B53-BDF5-FE17275CA0ED}" dt="2020-07-13T10:58:03.246" v="558" actId="21"/>
          <ac:spMkLst>
            <pc:docMk/>
            <pc:sldMk cId="1796562944" sldId="1940"/>
            <ac:spMk id="18" creationId="{5F5266DF-C1B5-4066-8432-06FE4AADDEF0}"/>
          </ac:spMkLst>
        </pc:spChg>
        <pc:spChg chg="mod">
          <ac:chgData name="Vincent Kharsyad [Chillibreeze]" userId="7b5f9e7a-8cb6-4e11-ad75-0918041740fe" providerId="ADAL" clId="{9D6E1852-5810-4B53-BDF5-FE17275CA0ED}" dt="2020-07-13T09:26:02.222" v="470" actId="165"/>
          <ac:spMkLst>
            <pc:docMk/>
            <pc:sldMk cId="1796562944" sldId="1940"/>
            <ac:spMk id="20" creationId="{72A1F2D9-B555-49BF-A2CA-BC3D398949DA}"/>
          </ac:spMkLst>
        </pc:spChg>
        <pc:spChg chg="mod">
          <ac:chgData name="Vincent Kharsyad [Chillibreeze]" userId="7b5f9e7a-8cb6-4e11-ad75-0918041740fe" providerId="ADAL" clId="{9D6E1852-5810-4B53-BDF5-FE17275CA0ED}" dt="2020-07-13T09:26:02.222" v="470" actId="165"/>
          <ac:spMkLst>
            <pc:docMk/>
            <pc:sldMk cId="1796562944" sldId="1940"/>
            <ac:spMk id="21" creationId="{64D74F58-2338-40F1-A5BA-9025565397C4}"/>
          </ac:spMkLst>
        </pc:spChg>
        <pc:spChg chg="del mod">
          <ac:chgData name="Vincent Kharsyad [Chillibreeze]" userId="7b5f9e7a-8cb6-4e11-ad75-0918041740fe" providerId="ADAL" clId="{9D6E1852-5810-4B53-BDF5-FE17275CA0ED}" dt="2020-07-13T10:58:11.593" v="562" actId="21"/>
          <ac:spMkLst>
            <pc:docMk/>
            <pc:sldMk cId="1796562944" sldId="1940"/>
            <ac:spMk id="23" creationId="{78EE1FDC-AF50-4A3E-85DC-91240E857109}"/>
          </ac:spMkLst>
        </pc:spChg>
        <pc:spChg chg="mod">
          <ac:chgData name="Vincent Kharsyad [Chillibreeze]" userId="7b5f9e7a-8cb6-4e11-ad75-0918041740fe" providerId="ADAL" clId="{9D6E1852-5810-4B53-BDF5-FE17275CA0ED}" dt="2020-07-13T09:26:02.222" v="470" actId="165"/>
          <ac:spMkLst>
            <pc:docMk/>
            <pc:sldMk cId="1796562944" sldId="1940"/>
            <ac:spMk id="25" creationId="{510F4F5A-45AA-41A4-8174-97B2B2122B5F}"/>
          </ac:spMkLst>
        </pc:spChg>
        <pc:spChg chg="mod">
          <ac:chgData name="Vincent Kharsyad [Chillibreeze]" userId="7b5f9e7a-8cb6-4e11-ad75-0918041740fe" providerId="ADAL" clId="{9D6E1852-5810-4B53-BDF5-FE17275CA0ED}" dt="2020-07-13T09:26:02.222" v="470" actId="165"/>
          <ac:spMkLst>
            <pc:docMk/>
            <pc:sldMk cId="1796562944" sldId="1940"/>
            <ac:spMk id="26" creationId="{D117DE98-2DF4-400F-89CA-D358DDB04DA4}"/>
          </ac:spMkLst>
        </pc:spChg>
        <pc:spChg chg="del mod">
          <ac:chgData name="Vincent Kharsyad [Chillibreeze]" userId="7b5f9e7a-8cb6-4e11-ad75-0918041740fe" providerId="ADAL" clId="{9D6E1852-5810-4B53-BDF5-FE17275CA0ED}" dt="2020-07-13T10:58:18.277" v="566" actId="21"/>
          <ac:spMkLst>
            <pc:docMk/>
            <pc:sldMk cId="1796562944" sldId="1940"/>
            <ac:spMk id="28" creationId="{6536AC0E-F8DE-4FBE-A536-7CC0E393FD17}"/>
          </ac:spMkLst>
        </pc:spChg>
        <pc:spChg chg="mod">
          <ac:chgData name="Vincent Kharsyad [Chillibreeze]" userId="7b5f9e7a-8cb6-4e11-ad75-0918041740fe" providerId="ADAL" clId="{9D6E1852-5810-4B53-BDF5-FE17275CA0ED}" dt="2020-07-13T09:26:43.901" v="480" actId="164"/>
          <ac:spMkLst>
            <pc:docMk/>
            <pc:sldMk cId="1796562944" sldId="1940"/>
            <ac:spMk id="30" creationId="{1D2DAB69-FC36-4C11-BFA9-C99AE355F445}"/>
          </ac:spMkLst>
        </pc:spChg>
        <pc:spChg chg="mod">
          <ac:chgData name="Vincent Kharsyad [Chillibreeze]" userId="7b5f9e7a-8cb6-4e11-ad75-0918041740fe" providerId="ADAL" clId="{9D6E1852-5810-4B53-BDF5-FE17275CA0ED}" dt="2020-07-13T09:26:43.901" v="480" actId="164"/>
          <ac:spMkLst>
            <pc:docMk/>
            <pc:sldMk cId="1796562944" sldId="1940"/>
            <ac:spMk id="31" creationId="{C520FDF7-50C0-4AED-AE73-CEC2B2E9CD52}"/>
          </ac:spMkLst>
        </pc:spChg>
        <pc:spChg chg="del mod">
          <ac:chgData name="Vincent Kharsyad [Chillibreeze]" userId="7b5f9e7a-8cb6-4e11-ad75-0918041740fe" providerId="ADAL" clId="{9D6E1852-5810-4B53-BDF5-FE17275CA0ED}" dt="2020-07-13T10:58:26.752" v="570" actId="21"/>
          <ac:spMkLst>
            <pc:docMk/>
            <pc:sldMk cId="1796562944" sldId="1940"/>
            <ac:spMk id="33" creationId="{CEB1FCA1-0050-45DA-B067-F50666A7C058}"/>
          </ac:spMkLst>
        </pc:spChg>
        <pc:spChg chg="mod topLvl">
          <ac:chgData name="Vincent Kharsyad [Chillibreeze]" userId="7b5f9e7a-8cb6-4e11-ad75-0918041740fe" providerId="ADAL" clId="{9D6E1852-5810-4B53-BDF5-FE17275CA0ED}" dt="2020-07-13T09:26:45.787" v="481" actId="164"/>
          <ac:spMkLst>
            <pc:docMk/>
            <pc:sldMk cId="1796562944" sldId="1940"/>
            <ac:spMk id="35" creationId="{BAC4CC25-75F6-45DD-B7A3-3C2C014694D0}"/>
          </ac:spMkLst>
        </pc:spChg>
        <pc:spChg chg="mod topLvl">
          <ac:chgData name="Vincent Kharsyad [Chillibreeze]" userId="7b5f9e7a-8cb6-4e11-ad75-0918041740fe" providerId="ADAL" clId="{9D6E1852-5810-4B53-BDF5-FE17275CA0ED}" dt="2020-07-13T09:26:45.787" v="481" actId="164"/>
          <ac:spMkLst>
            <pc:docMk/>
            <pc:sldMk cId="1796562944" sldId="1940"/>
            <ac:spMk id="36" creationId="{7FE5CE82-BC67-4553-9265-2E9F0A55455A}"/>
          </ac:spMkLst>
        </pc:spChg>
        <pc:spChg chg="del mod">
          <ac:chgData name="Vincent Kharsyad [Chillibreeze]" userId="7b5f9e7a-8cb6-4e11-ad75-0918041740fe" providerId="ADAL" clId="{9D6E1852-5810-4B53-BDF5-FE17275CA0ED}" dt="2020-07-13T10:58:33.540" v="574" actId="21"/>
          <ac:spMkLst>
            <pc:docMk/>
            <pc:sldMk cId="1796562944" sldId="1940"/>
            <ac:spMk id="38" creationId="{3D374E96-0C7D-4749-B9A7-830A5A6CDF25}"/>
          </ac:spMkLst>
        </pc:spChg>
        <pc:spChg chg="add mod">
          <ac:chgData name="Vincent Kharsyad [Chillibreeze]" userId="7b5f9e7a-8cb6-4e11-ad75-0918041740fe" providerId="ADAL" clId="{9D6E1852-5810-4B53-BDF5-FE17275CA0ED}" dt="2020-07-13T11:14:48.991" v="722" actId="12789"/>
          <ac:spMkLst>
            <pc:docMk/>
            <pc:sldMk cId="1796562944" sldId="1940"/>
            <ac:spMk id="64" creationId="{71B664F4-399E-4A9A-BA2E-6920F82A30B7}"/>
          </ac:spMkLst>
        </pc:spChg>
        <pc:spChg chg="add mod">
          <ac:chgData name="Vincent Kharsyad [Chillibreeze]" userId="7b5f9e7a-8cb6-4e11-ad75-0918041740fe" providerId="ADAL" clId="{9D6E1852-5810-4B53-BDF5-FE17275CA0ED}" dt="2020-07-13T11:14:52.393" v="723" actId="12789"/>
          <ac:spMkLst>
            <pc:docMk/>
            <pc:sldMk cId="1796562944" sldId="1940"/>
            <ac:spMk id="66" creationId="{458E4983-4342-4E52-8C43-8FDE37F0BF79}"/>
          </ac:spMkLst>
        </pc:spChg>
        <pc:spChg chg="add mod">
          <ac:chgData name="Vincent Kharsyad [Chillibreeze]" userId="7b5f9e7a-8cb6-4e11-ad75-0918041740fe" providerId="ADAL" clId="{9D6E1852-5810-4B53-BDF5-FE17275CA0ED}" dt="2020-07-13T10:58:04.010" v="559"/>
          <ac:spMkLst>
            <pc:docMk/>
            <pc:sldMk cId="1796562944" sldId="1940"/>
            <ac:spMk id="68" creationId="{F2E7E68D-15AE-4D39-AE62-78F58B750E39}"/>
          </ac:spMkLst>
        </pc:spChg>
        <pc:spChg chg="add mod">
          <ac:chgData name="Vincent Kharsyad [Chillibreeze]" userId="7b5f9e7a-8cb6-4e11-ad75-0918041740fe" providerId="ADAL" clId="{9D6E1852-5810-4B53-BDF5-FE17275CA0ED}" dt="2020-07-13T10:58:12.166" v="563"/>
          <ac:spMkLst>
            <pc:docMk/>
            <pc:sldMk cId="1796562944" sldId="1940"/>
            <ac:spMk id="70" creationId="{B67613AF-47EC-4E06-8928-36303914CB18}"/>
          </ac:spMkLst>
        </pc:spChg>
        <pc:spChg chg="add mod">
          <ac:chgData name="Vincent Kharsyad [Chillibreeze]" userId="7b5f9e7a-8cb6-4e11-ad75-0918041740fe" providerId="ADAL" clId="{9D6E1852-5810-4B53-BDF5-FE17275CA0ED}" dt="2020-07-13T10:58:18.835" v="567"/>
          <ac:spMkLst>
            <pc:docMk/>
            <pc:sldMk cId="1796562944" sldId="1940"/>
            <ac:spMk id="72" creationId="{07344439-ED9E-4C93-AFF6-F0C2D7B30636}"/>
          </ac:spMkLst>
        </pc:spChg>
        <pc:spChg chg="add mod">
          <ac:chgData name="Vincent Kharsyad [Chillibreeze]" userId="7b5f9e7a-8cb6-4e11-ad75-0918041740fe" providerId="ADAL" clId="{9D6E1852-5810-4B53-BDF5-FE17275CA0ED}" dt="2020-07-13T10:58:27.575" v="571"/>
          <ac:spMkLst>
            <pc:docMk/>
            <pc:sldMk cId="1796562944" sldId="1940"/>
            <ac:spMk id="74" creationId="{D9A47A5A-AF39-4697-A80B-D0064843BCE0}"/>
          </ac:spMkLst>
        </pc:spChg>
        <pc:spChg chg="add mod">
          <ac:chgData name="Vincent Kharsyad [Chillibreeze]" userId="7b5f9e7a-8cb6-4e11-ad75-0918041740fe" providerId="ADAL" clId="{9D6E1852-5810-4B53-BDF5-FE17275CA0ED}" dt="2020-07-13T10:58:34.283" v="575"/>
          <ac:spMkLst>
            <pc:docMk/>
            <pc:sldMk cId="1796562944" sldId="1940"/>
            <ac:spMk id="76" creationId="{DA33ADF4-3EEA-4130-9906-84C774B042EA}"/>
          </ac:spMkLst>
        </pc:spChg>
        <pc:grpChg chg="add del mod">
          <ac:chgData name="Vincent Kharsyad [Chillibreeze]" userId="7b5f9e7a-8cb6-4e11-ad75-0918041740fe" providerId="ADAL" clId="{9D6E1852-5810-4B53-BDF5-FE17275CA0ED}" dt="2020-07-13T09:26:02.222" v="470" actId="165"/>
          <ac:grpSpMkLst>
            <pc:docMk/>
            <pc:sldMk cId="1796562944" sldId="1940"/>
            <ac:grpSpMk id="3" creationId="{E2139BEF-1FA2-47AD-AA11-4042193E1E24}"/>
          </ac:grpSpMkLst>
        </pc:grpChg>
        <pc:grpChg chg="add del mod">
          <ac:chgData name="Vincent Kharsyad [Chillibreeze]" userId="7b5f9e7a-8cb6-4e11-ad75-0918041740fe" providerId="ADAL" clId="{9D6E1852-5810-4B53-BDF5-FE17275CA0ED}" dt="2020-07-13T06:04:42.744" v="233" actId="165"/>
          <ac:grpSpMkLst>
            <pc:docMk/>
            <pc:sldMk cId="1796562944" sldId="1940"/>
            <ac:grpSpMk id="4" creationId="{0E939123-F6AE-4536-A346-0701E667C113}"/>
          </ac:grpSpMkLst>
        </pc:grpChg>
        <pc:grpChg chg="add del mod">
          <ac:chgData name="Vincent Kharsyad [Chillibreeze]" userId="7b5f9e7a-8cb6-4e11-ad75-0918041740fe" providerId="ADAL" clId="{9D6E1852-5810-4B53-BDF5-FE17275CA0ED}" dt="2020-07-13T10:51:13.024" v="491" actId="21"/>
          <ac:grpSpMkLst>
            <pc:docMk/>
            <pc:sldMk cId="1796562944" sldId="1940"/>
            <ac:grpSpMk id="4" creationId="{4D196590-1BA4-4351-97A9-BEB3FBB0DB63}"/>
          </ac:grpSpMkLst>
        </pc:grpChg>
        <pc:grpChg chg="add del mod">
          <ac:chgData name="Vincent Kharsyad [Chillibreeze]" userId="7b5f9e7a-8cb6-4e11-ad75-0918041740fe" providerId="ADAL" clId="{9D6E1852-5810-4B53-BDF5-FE17275CA0ED}" dt="2020-07-13T10:52:28.808" v="500" actId="21"/>
          <ac:grpSpMkLst>
            <pc:docMk/>
            <pc:sldMk cId="1796562944" sldId="1940"/>
            <ac:grpSpMk id="7" creationId="{4381702E-5572-4DDE-862D-ED325D234224}"/>
          </ac:grpSpMkLst>
        </pc:grpChg>
        <pc:grpChg chg="mod topLvl">
          <ac:chgData name="Vincent Kharsyad [Chillibreeze]" userId="7b5f9e7a-8cb6-4e11-ad75-0918041740fe" providerId="ADAL" clId="{9D6E1852-5810-4B53-BDF5-FE17275CA0ED}" dt="2020-07-13T09:26:33.507" v="474" actId="164"/>
          <ac:grpSpMkLst>
            <pc:docMk/>
            <pc:sldMk cId="1796562944" sldId="1940"/>
            <ac:grpSpMk id="9" creationId="{9D6CB455-724C-4B3F-8FAC-FD4B0B5324EB}"/>
          </ac:grpSpMkLst>
        </pc:grpChg>
        <pc:grpChg chg="add del mod">
          <ac:chgData name="Vincent Kharsyad [Chillibreeze]" userId="7b5f9e7a-8cb6-4e11-ad75-0918041740fe" providerId="ADAL" clId="{9D6E1852-5810-4B53-BDF5-FE17275CA0ED}" dt="2020-07-13T10:52:48.178" v="503" actId="21"/>
          <ac:grpSpMkLst>
            <pc:docMk/>
            <pc:sldMk cId="1796562944" sldId="1940"/>
            <ac:grpSpMk id="12" creationId="{133DEE71-2043-4C3B-9182-FE731C82C14B}"/>
          </ac:grpSpMkLst>
        </pc:grpChg>
        <pc:grpChg chg="mod topLvl">
          <ac:chgData name="Vincent Kharsyad [Chillibreeze]" userId="7b5f9e7a-8cb6-4e11-ad75-0918041740fe" providerId="ADAL" clId="{9D6E1852-5810-4B53-BDF5-FE17275CA0ED}" dt="2020-07-13T09:26:35.457" v="475" actId="164"/>
          <ac:grpSpMkLst>
            <pc:docMk/>
            <pc:sldMk cId="1796562944" sldId="1940"/>
            <ac:grpSpMk id="14" creationId="{91F50A21-37A3-463F-BC5D-EAE3EDC2FD70}"/>
          </ac:grpSpMkLst>
        </pc:grpChg>
        <pc:grpChg chg="add del mod">
          <ac:chgData name="Vincent Kharsyad [Chillibreeze]" userId="7b5f9e7a-8cb6-4e11-ad75-0918041740fe" providerId="ADAL" clId="{9D6E1852-5810-4B53-BDF5-FE17275CA0ED}" dt="2020-07-13T10:53:02.089" v="506" actId="21"/>
          <ac:grpSpMkLst>
            <pc:docMk/>
            <pc:sldMk cId="1796562944" sldId="1940"/>
            <ac:grpSpMk id="17" creationId="{88DA67A1-E991-46E8-B581-4999A0FED8D7}"/>
          </ac:grpSpMkLst>
        </pc:grpChg>
        <pc:grpChg chg="mod topLvl">
          <ac:chgData name="Vincent Kharsyad [Chillibreeze]" userId="7b5f9e7a-8cb6-4e11-ad75-0918041740fe" providerId="ADAL" clId="{9D6E1852-5810-4B53-BDF5-FE17275CA0ED}" dt="2020-07-13T09:26:37.427" v="476" actId="164"/>
          <ac:grpSpMkLst>
            <pc:docMk/>
            <pc:sldMk cId="1796562944" sldId="1940"/>
            <ac:grpSpMk id="19" creationId="{167ECDE7-3A85-487C-AA0D-8B83A0B511CF}"/>
          </ac:grpSpMkLst>
        </pc:grpChg>
        <pc:grpChg chg="mod topLvl">
          <ac:chgData name="Vincent Kharsyad [Chillibreeze]" userId="7b5f9e7a-8cb6-4e11-ad75-0918041740fe" providerId="ADAL" clId="{9D6E1852-5810-4B53-BDF5-FE17275CA0ED}" dt="2020-07-13T09:26:42.098" v="479" actId="164"/>
          <ac:grpSpMkLst>
            <pc:docMk/>
            <pc:sldMk cId="1796562944" sldId="1940"/>
            <ac:grpSpMk id="24" creationId="{CA3592CC-CDE8-4DE1-8923-0DD9AFD9806B}"/>
          </ac:grpSpMkLst>
        </pc:grpChg>
        <pc:grpChg chg="add del mod">
          <ac:chgData name="Vincent Kharsyad [Chillibreeze]" userId="7b5f9e7a-8cb6-4e11-ad75-0918041740fe" providerId="ADAL" clId="{9D6E1852-5810-4B53-BDF5-FE17275CA0ED}" dt="2020-07-13T10:53:19.145" v="509" actId="21"/>
          <ac:grpSpMkLst>
            <pc:docMk/>
            <pc:sldMk cId="1796562944" sldId="1940"/>
            <ac:grpSpMk id="27" creationId="{6EA68CC3-23A0-40A1-8C16-17C97825CA53}"/>
          </ac:grpSpMkLst>
        </pc:grpChg>
        <pc:grpChg chg="add del mod">
          <ac:chgData name="Vincent Kharsyad [Chillibreeze]" userId="7b5f9e7a-8cb6-4e11-ad75-0918041740fe" providerId="ADAL" clId="{9D6E1852-5810-4B53-BDF5-FE17275CA0ED}" dt="2020-07-13T05:04:52.082" v="120" actId="165"/>
          <ac:grpSpMkLst>
            <pc:docMk/>
            <pc:sldMk cId="1796562944" sldId="1940"/>
            <ac:grpSpMk id="27" creationId="{A2317FAC-9280-4510-88DA-050116DADD18}"/>
          </ac:grpSpMkLst>
        </pc:grpChg>
        <pc:grpChg chg="add del mod">
          <ac:chgData name="Vincent Kharsyad [Chillibreeze]" userId="7b5f9e7a-8cb6-4e11-ad75-0918041740fe" providerId="ADAL" clId="{9D6E1852-5810-4B53-BDF5-FE17275CA0ED}" dt="2020-07-13T09:26:02.222" v="470" actId="165"/>
          <ac:grpSpMkLst>
            <pc:docMk/>
            <pc:sldMk cId="1796562944" sldId="1940"/>
            <ac:grpSpMk id="29" creationId="{C84E22A7-7D1A-4C3D-819E-9A453BBE020A}"/>
          </ac:grpSpMkLst>
        </pc:grpChg>
        <pc:grpChg chg="add del mod">
          <ac:chgData name="Vincent Kharsyad [Chillibreeze]" userId="7b5f9e7a-8cb6-4e11-ad75-0918041740fe" providerId="ADAL" clId="{9D6E1852-5810-4B53-BDF5-FE17275CA0ED}" dt="2020-07-13T10:53:31.632" v="512" actId="21"/>
          <ac:grpSpMkLst>
            <pc:docMk/>
            <pc:sldMk cId="1796562944" sldId="1940"/>
            <ac:grpSpMk id="32" creationId="{25EC2C54-0B95-426F-A259-23DDD1885CE1}"/>
          </ac:grpSpMkLst>
        </pc:grpChg>
        <pc:grpChg chg="del mod topLvl">
          <ac:chgData name="Vincent Kharsyad [Chillibreeze]" userId="7b5f9e7a-8cb6-4e11-ad75-0918041740fe" providerId="ADAL" clId="{9D6E1852-5810-4B53-BDF5-FE17275CA0ED}" dt="2020-07-13T09:26:03.208" v="471" actId="165"/>
          <ac:grpSpMkLst>
            <pc:docMk/>
            <pc:sldMk cId="1796562944" sldId="1940"/>
            <ac:grpSpMk id="34" creationId="{FE75C98A-A3F5-4AEC-9DBE-2A3A358241BE}"/>
          </ac:grpSpMkLst>
        </pc:grpChg>
        <pc:grpChg chg="add del mod">
          <ac:chgData name="Vincent Kharsyad [Chillibreeze]" userId="7b5f9e7a-8cb6-4e11-ad75-0918041740fe" providerId="ADAL" clId="{9D6E1852-5810-4B53-BDF5-FE17275CA0ED}" dt="2020-07-13T10:53:48.546" v="516" actId="21"/>
          <ac:grpSpMkLst>
            <pc:docMk/>
            <pc:sldMk cId="1796562944" sldId="1940"/>
            <ac:grpSpMk id="37" creationId="{213105AE-791A-4B90-9231-474506C24951}"/>
          </ac:grpSpMkLst>
        </pc:grpChg>
        <pc:grpChg chg="add del mod">
          <ac:chgData name="Vincent Kharsyad [Chillibreeze]" userId="7b5f9e7a-8cb6-4e11-ad75-0918041740fe" providerId="ADAL" clId="{9D6E1852-5810-4B53-BDF5-FE17275CA0ED}" dt="2020-07-13T09:26:02.222" v="470" actId="165"/>
          <ac:grpSpMkLst>
            <pc:docMk/>
            <pc:sldMk cId="1796562944" sldId="1940"/>
            <ac:grpSpMk id="44" creationId="{E670F59D-21E3-4BC1-BCD0-968CAD25EE26}"/>
          </ac:grpSpMkLst>
        </pc:grpChg>
        <pc:grpChg chg="add del mod">
          <ac:chgData name="Vincent Kharsyad [Chillibreeze]" userId="7b5f9e7a-8cb6-4e11-ad75-0918041740fe" providerId="ADAL" clId="{9D6E1852-5810-4B53-BDF5-FE17275CA0ED}" dt="2020-07-13T09:26:02.222" v="470" actId="165"/>
          <ac:grpSpMkLst>
            <pc:docMk/>
            <pc:sldMk cId="1796562944" sldId="1940"/>
            <ac:grpSpMk id="46" creationId="{C75C1ACB-12C0-4951-B7A6-75DA7953A530}"/>
          </ac:grpSpMkLst>
        </pc:grpChg>
        <pc:grpChg chg="add del mod">
          <ac:chgData name="Vincent Kharsyad [Chillibreeze]" userId="7b5f9e7a-8cb6-4e11-ad75-0918041740fe" providerId="ADAL" clId="{9D6E1852-5810-4B53-BDF5-FE17275CA0ED}" dt="2020-07-13T09:26:02.222" v="470" actId="165"/>
          <ac:grpSpMkLst>
            <pc:docMk/>
            <pc:sldMk cId="1796562944" sldId="1940"/>
            <ac:grpSpMk id="47" creationId="{FC32583A-4552-46E6-9BFA-C0BDC1928D6C}"/>
          </ac:grpSpMkLst>
        </pc:grpChg>
        <pc:grpChg chg="add del mod">
          <ac:chgData name="Vincent Kharsyad [Chillibreeze]" userId="7b5f9e7a-8cb6-4e11-ad75-0918041740fe" providerId="ADAL" clId="{9D6E1852-5810-4B53-BDF5-FE17275CA0ED}" dt="2020-07-13T09:26:02.222" v="470" actId="165"/>
          <ac:grpSpMkLst>
            <pc:docMk/>
            <pc:sldMk cId="1796562944" sldId="1940"/>
            <ac:grpSpMk id="48" creationId="{6E37C391-8B91-469C-955F-667FBBED37F0}"/>
          </ac:grpSpMkLst>
        </pc:grpChg>
        <pc:grpChg chg="add del mod">
          <ac:chgData name="Vincent Kharsyad [Chillibreeze]" userId="7b5f9e7a-8cb6-4e11-ad75-0918041740fe" providerId="ADAL" clId="{9D6E1852-5810-4B53-BDF5-FE17275CA0ED}" dt="2020-07-13T05:04:11.737" v="102" actId="165"/>
          <ac:grpSpMkLst>
            <pc:docMk/>
            <pc:sldMk cId="1796562944" sldId="1940"/>
            <ac:grpSpMk id="49" creationId="{A6D8DB9E-C4EC-4A04-9A0F-7B0E0DF4E55F}"/>
          </ac:grpSpMkLst>
        </pc:grpChg>
        <pc:picChg chg="del">
          <ac:chgData name="Vincent Kharsyad [Chillibreeze]" userId="7b5f9e7a-8cb6-4e11-ad75-0918041740fe" providerId="ADAL" clId="{9D6E1852-5810-4B53-BDF5-FE17275CA0ED}" dt="2020-07-13T04:23:31.563" v="21" actId="478"/>
          <ac:picMkLst>
            <pc:docMk/>
            <pc:sldMk cId="1796562944" sldId="1940"/>
            <ac:picMk id="7" creationId="{28FA0310-6FA7-4429-B030-44197157ABE6}"/>
          </ac:picMkLst>
        </pc:picChg>
        <pc:picChg chg="mod topLvl">
          <ac:chgData name="Vincent Kharsyad [Chillibreeze]" userId="7b5f9e7a-8cb6-4e11-ad75-0918041740fe" providerId="ADAL" clId="{9D6E1852-5810-4B53-BDF5-FE17275CA0ED}" dt="2020-07-13T09:26:37.427" v="476" actId="164"/>
          <ac:picMkLst>
            <pc:docMk/>
            <pc:sldMk cId="1796562944" sldId="1940"/>
            <ac:picMk id="22" creationId="{64946C29-D204-4928-9EEE-B7C012ED0410}"/>
          </ac:picMkLst>
        </pc:picChg>
        <pc:picChg chg="del mod">
          <ac:chgData name="Vincent Kharsyad [Chillibreeze]" userId="7b5f9e7a-8cb6-4e11-ad75-0918041740fe" providerId="ADAL" clId="{9D6E1852-5810-4B53-BDF5-FE17275CA0ED}" dt="2020-07-13T10:57:20.823" v="548" actId="21"/>
          <ac:picMkLst>
            <pc:docMk/>
            <pc:sldMk cId="1796562944" sldId="1940"/>
            <ac:picMk id="39" creationId="{2341F663-5DEF-4A14-BE5C-DFADC3459298}"/>
          </ac:picMkLst>
        </pc:picChg>
        <pc:picChg chg="mod topLvl">
          <ac:chgData name="Vincent Kharsyad [Chillibreeze]" userId="7b5f9e7a-8cb6-4e11-ad75-0918041740fe" providerId="ADAL" clId="{9D6E1852-5810-4B53-BDF5-FE17275CA0ED}" dt="2020-07-13T09:26:42.098" v="479" actId="164"/>
          <ac:picMkLst>
            <pc:docMk/>
            <pc:sldMk cId="1796562944" sldId="1940"/>
            <ac:picMk id="40" creationId="{ED7EC537-2421-4EEC-AA3C-4110FB3867ED}"/>
          </ac:picMkLst>
        </pc:picChg>
        <pc:picChg chg="mod">
          <ac:chgData name="Vincent Kharsyad [Chillibreeze]" userId="7b5f9e7a-8cb6-4e11-ad75-0918041740fe" providerId="ADAL" clId="{9D6E1852-5810-4B53-BDF5-FE17275CA0ED}" dt="2020-07-13T09:26:43.901" v="480" actId="164"/>
          <ac:picMkLst>
            <pc:docMk/>
            <pc:sldMk cId="1796562944" sldId="1940"/>
            <ac:picMk id="41" creationId="{7A5C2864-FC5B-42D5-9BBC-F0A7EE8B917A}"/>
          </ac:picMkLst>
        </pc:picChg>
        <pc:picChg chg="del mod topLvl">
          <ac:chgData name="Vincent Kharsyad [Chillibreeze]" userId="7b5f9e7a-8cb6-4e11-ad75-0918041740fe" providerId="ADAL" clId="{9D6E1852-5810-4B53-BDF5-FE17275CA0ED}" dt="2020-07-13T05:04:14.197" v="103" actId="478"/>
          <ac:picMkLst>
            <pc:docMk/>
            <pc:sldMk cId="1796562944" sldId="1940"/>
            <ac:picMk id="42" creationId="{1E101D40-EB8E-4E6B-8CC2-5C7AEB31E84A}"/>
          </ac:picMkLst>
        </pc:picChg>
        <pc:picChg chg="add del mod">
          <ac:chgData name="Vincent Kharsyad [Chillibreeze]" userId="7b5f9e7a-8cb6-4e11-ad75-0918041740fe" providerId="ADAL" clId="{9D6E1852-5810-4B53-BDF5-FE17275CA0ED}" dt="2020-07-13T10:57:02.162" v="547" actId="478"/>
          <ac:picMkLst>
            <pc:docMk/>
            <pc:sldMk cId="1796562944" sldId="1940"/>
            <ac:picMk id="42" creationId="{B6AE7598-96B3-4A29-ACD8-DE1710EB95D4}"/>
          </ac:picMkLst>
        </pc:picChg>
        <pc:picChg chg="mod topLvl">
          <ac:chgData name="Vincent Kharsyad [Chillibreeze]" userId="7b5f9e7a-8cb6-4e11-ad75-0918041740fe" providerId="ADAL" clId="{9D6E1852-5810-4B53-BDF5-FE17275CA0ED}" dt="2020-07-13T09:26:35.457" v="475" actId="164"/>
          <ac:picMkLst>
            <pc:docMk/>
            <pc:sldMk cId="1796562944" sldId="1940"/>
            <ac:picMk id="43" creationId="{BA0F04D0-B29A-419E-A0FF-A88FC41577A2}"/>
          </ac:picMkLst>
        </pc:picChg>
        <pc:picChg chg="mod topLvl">
          <ac:chgData name="Vincent Kharsyad [Chillibreeze]" userId="7b5f9e7a-8cb6-4e11-ad75-0918041740fe" providerId="ADAL" clId="{9D6E1852-5810-4B53-BDF5-FE17275CA0ED}" dt="2020-07-13T09:26:33.507" v="474" actId="164"/>
          <ac:picMkLst>
            <pc:docMk/>
            <pc:sldMk cId="1796562944" sldId="1940"/>
            <ac:picMk id="45" creationId="{69416595-AF93-4D81-ABA3-B45A8E1FD374}"/>
          </ac:picMkLst>
        </pc:picChg>
        <pc:picChg chg="add del mod">
          <ac:chgData name="Vincent Kharsyad [Chillibreeze]" userId="7b5f9e7a-8cb6-4e11-ad75-0918041740fe" providerId="ADAL" clId="{9D6E1852-5810-4B53-BDF5-FE17275CA0ED}" dt="2020-07-13T10:57:02.162" v="547" actId="478"/>
          <ac:picMkLst>
            <pc:docMk/>
            <pc:sldMk cId="1796562944" sldId="1940"/>
            <ac:picMk id="49" creationId="{0458AE53-7B62-4930-8E4E-91DB95CB2E71}"/>
          </ac:picMkLst>
        </pc:picChg>
        <pc:picChg chg="add del mod">
          <ac:chgData name="Vincent Kharsyad [Chillibreeze]" userId="7b5f9e7a-8cb6-4e11-ad75-0918041740fe" providerId="ADAL" clId="{9D6E1852-5810-4B53-BDF5-FE17275CA0ED}" dt="2020-07-13T10:57:02.162" v="547" actId="478"/>
          <ac:picMkLst>
            <pc:docMk/>
            <pc:sldMk cId="1796562944" sldId="1940"/>
            <ac:picMk id="50" creationId="{558132E0-61CF-4115-9E87-F5CC1274805F}"/>
          </ac:picMkLst>
        </pc:picChg>
        <pc:picChg chg="add del mod">
          <ac:chgData name="Vincent Kharsyad [Chillibreeze]" userId="7b5f9e7a-8cb6-4e11-ad75-0918041740fe" providerId="ADAL" clId="{9D6E1852-5810-4B53-BDF5-FE17275CA0ED}" dt="2020-07-13T04:23:37.167" v="23" actId="478"/>
          <ac:picMkLst>
            <pc:docMk/>
            <pc:sldMk cId="1796562944" sldId="1940"/>
            <ac:picMk id="50" creationId="{872E42E2-E887-41A0-81A3-EED003C9694A}"/>
          </ac:picMkLst>
        </pc:picChg>
        <pc:picChg chg="add del mod">
          <ac:chgData name="Vincent Kharsyad [Chillibreeze]" userId="7b5f9e7a-8cb6-4e11-ad75-0918041740fe" providerId="ADAL" clId="{9D6E1852-5810-4B53-BDF5-FE17275CA0ED}" dt="2020-07-13T04:44:49.306" v="34" actId="478"/>
          <ac:picMkLst>
            <pc:docMk/>
            <pc:sldMk cId="1796562944" sldId="1940"/>
            <ac:picMk id="50" creationId="{9883AF13-D027-4325-A908-38E2E62142EC}"/>
          </ac:picMkLst>
        </pc:picChg>
        <pc:picChg chg="add mod topLvl">
          <ac:chgData name="Vincent Kharsyad [Chillibreeze]" userId="7b5f9e7a-8cb6-4e11-ad75-0918041740fe" providerId="ADAL" clId="{9D6E1852-5810-4B53-BDF5-FE17275CA0ED}" dt="2020-07-13T09:26:27.617" v="473" actId="164"/>
          <ac:picMkLst>
            <pc:docMk/>
            <pc:sldMk cId="1796562944" sldId="1940"/>
            <ac:picMk id="51" creationId="{C4B125E0-818F-44FB-BFD9-756E80ADDAF5}"/>
          </ac:picMkLst>
        </pc:picChg>
        <pc:picChg chg="add del mod">
          <ac:chgData name="Vincent Kharsyad [Chillibreeze]" userId="7b5f9e7a-8cb6-4e11-ad75-0918041740fe" providerId="ADAL" clId="{9D6E1852-5810-4B53-BDF5-FE17275CA0ED}" dt="2020-07-13T10:57:02.162" v="547" actId="478"/>
          <ac:picMkLst>
            <pc:docMk/>
            <pc:sldMk cId="1796562944" sldId="1940"/>
            <ac:picMk id="52" creationId="{381D98F2-8B90-4CB3-B188-23235DAEA29C}"/>
          </ac:picMkLst>
        </pc:picChg>
        <pc:picChg chg="add del mod">
          <ac:chgData name="Vincent Kharsyad [Chillibreeze]" userId="7b5f9e7a-8cb6-4e11-ad75-0918041740fe" providerId="ADAL" clId="{9D6E1852-5810-4B53-BDF5-FE17275CA0ED}" dt="2020-07-13T04:52:34.355" v="59"/>
          <ac:picMkLst>
            <pc:docMk/>
            <pc:sldMk cId="1796562944" sldId="1940"/>
            <ac:picMk id="52" creationId="{462C4240-AA3B-4588-8EDE-CA1A2E2DD69D}"/>
          </ac:picMkLst>
        </pc:picChg>
        <pc:picChg chg="add mod topLvl">
          <ac:chgData name="Vincent Kharsyad [Chillibreeze]" userId="7b5f9e7a-8cb6-4e11-ad75-0918041740fe" providerId="ADAL" clId="{9D6E1852-5810-4B53-BDF5-FE17275CA0ED}" dt="2020-07-13T09:26:45.787" v="481" actId="164"/>
          <ac:picMkLst>
            <pc:docMk/>
            <pc:sldMk cId="1796562944" sldId="1940"/>
            <ac:picMk id="53" creationId="{40140DA4-F8D0-4A03-B766-2F9ED6B7B6E3}"/>
          </ac:picMkLst>
        </pc:picChg>
        <pc:picChg chg="add del mod">
          <ac:chgData name="Vincent Kharsyad [Chillibreeze]" userId="7b5f9e7a-8cb6-4e11-ad75-0918041740fe" providerId="ADAL" clId="{9D6E1852-5810-4B53-BDF5-FE17275CA0ED}" dt="2020-07-13T10:57:02.162" v="547" actId="478"/>
          <ac:picMkLst>
            <pc:docMk/>
            <pc:sldMk cId="1796562944" sldId="1940"/>
            <ac:picMk id="54" creationId="{04491850-4314-4088-9AFF-8CAAD9F1D035}"/>
          </ac:picMkLst>
        </pc:picChg>
        <pc:picChg chg="add del mod">
          <ac:chgData name="Vincent Kharsyad [Chillibreeze]" userId="7b5f9e7a-8cb6-4e11-ad75-0918041740fe" providerId="ADAL" clId="{9D6E1852-5810-4B53-BDF5-FE17275CA0ED}" dt="2020-07-13T10:57:02.162" v="547" actId="478"/>
          <ac:picMkLst>
            <pc:docMk/>
            <pc:sldMk cId="1796562944" sldId="1940"/>
            <ac:picMk id="55" creationId="{1288A382-D8BF-4EF7-AA32-9B02912D3B1C}"/>
          </ac:picMkLst>
        </pc:picChg>
        <pc:picChg chg="add del mod">
          <ac:chgData name="Vincent Kharsyad [Chillibreeze]" userId="7b5f9e7a-8cb6-4e11-ad75-0918041740fe" providerId="ADAL" clId="{9D6E1852-5810-4B53-BDF5-FE17275CA0ED}" dt="2020-07-13T10:57:02.162" v="547" actId="478"/>
          <ac:picMkLst>
            <pc:docMk/>
            <pc:sldMk cId="1796562944" sldId="1940"/>
            <ac:picMk id="56" creationId="{75C77BB4-4CF1-42DD-A9E6-A8634F57805B}"/>
          </ac:picMkLst>
        </pc:picChg>
        <pc:picChg chg="del mod">
          <ac:chgData name="Vincent Kharsyad [Chillibreeze]" userId="7b5f9e7a-8cb6-4e11-ad75-0918041740fe" providerId="ADAL" clId="{9D6E1852-5810-4B53-BDF5-FE17275CA0ED}" dt="2020-07-13T10:57:45.271" v="552" actId="21"/>
          <ac:picMkLst>
            <pc:docMk/>
            <pc:sldMk cId="1796562944" sldId="1940"/>
            <ac:picMk id="57" creationId="{2F0EAB79-EAF0-4759-98E0-904D9064F355}"/>
          </ac:picMkLst>
        </pc:picChg>
        <pc:picChg chg="del mod">
          <ac:chgData name="Vincent Kharsyad [Chillibreeze]" userId="7b5f9e7a-8cb6-4e11-ad75-0918041740fe" providerId="ADAL" clId="{9D6E1852-5810-4B53-BDF5-FE17275CA0ED}" dt="2020-07-13T10:57:59.120" v="556" actId="21"/>
          <ac:picMkLst>
            <pc:docMk/>
            <pc:sldMk cId="1796562944" sldId="1940"/>
            <ac:picMk id="58" creationId="{5222CE50-4554-4454-A82A-4B246EB354D1}"/>
          </ac:picMkLst>
        </pc:picChg>
        <pc:picChg chg="del mod">
          <ac:chgData name="Vincent Kharsyad [Chillibreeze]" userId="7b5f9e7a-8cb6-4e11-ad75-0918041740fe" providerId="ADAL" clId="{9D6E1852-5810-4B53-BDF5-FE17275CA0ED}" dt="2020-07-13T10:58:06.749" v="560" actId="21"/>
          <ac:picMkLst>
            <pc:docMk/>
            <pc:sldMk cId="1796562944" sldId="1940"/>
            <ac:picMk id="59" creationId="{79E8E7CA-3335-4BA9-A8AD-A70D535C1D93}"/>
          </ac:picMkLst>
        </pc:picChg>
        <pc:picChg chg="del mod">
          <ac:chgData name="Vincent Kharsyad [Chillibreeze]" userId="7b5f9e7a-8cb6-4e11-ad75-0918041740fe" providerId="ADAL" clId="{9D6E1852-5810-4B53-BDF5-FE17275CA0ED}" dt="2020-07-13T10:58:16.036" v="564" actId="21"/>
          <ac:picMkLst>
            <pc:docMk/>
            <pc:sldMk cId="1796562944" sldId="1940"/>
            <ac:picMk id="60" creationId="{8F96B83B-1094-4449-971C-2174AEE4853E}"/>
          </ac:picMkLst>
        </pc:picChg>
        <pc:picChg chg="del mod">
          <ac:chgData name="Vincent Kharsyad [Chillibreeze]" userId="7b5f9e7a-8cb6-4e11-ad75-0918041740fe" providerId="ADAL" clId="{9D6E1852-5810-4B53-BDF5-FE17275CA0ED}" dt="2020-07-13T10:58:20.871" v="568" actId="21"/>
          <ac:picMkLst>
            <pc:docMk/>
            <pc:sldMk cId="1796562944" sldId="1940"/>
            <ac:picMk id="61" creationId="{05EE6435-54D8-4B77-BD61-AD9A609D8256}"/>
          </ac:picMkLst>
        </pc:picChg>
        <pc:picChg chg="del mod">
          <ac:chgData name="Vincent Kharsyad [Chillibreeze]" userId="7b5f9e7a-8cb6-4e11-ad75-0918041740fe" providerId="ADAL" clId="{9D6E1852-5810-4B53-BDF5-FE17275CA0ED}" dt="2020-07-13T10:58:30.440" v="572" actId="21"/>
          <ac:picMkLst>
            <pc:docMk/>
            <pc:sldMk cId="1796562944" sldId="1940"/>
            <ac:picMk id="62" creationId="{62546D50-A2A6-4D18-8491-79BAD252F340}"/>
          </ac:picMkLst>
        </pc:picChg>
        <pc:picChg chg="add mod">
          <ac:chgData name="Vincent Kharsyad [Chillibreeze]" userId="7b5f9e7a-8cb6-4e11-ad75-0918041740fe" providerId="ADAL" clId="{9D6E1852-5810-4B53-BDF5-FE17275CA0ED}" dt="2020-07-13T11:14:48.991" v="722" actId="12789"/>
          <ac:picMkLst>
            <pc:docMk/>
            <pc:sldMk cId="1796562944" sldId="1940"/>
            <ac:picMk id="63" creationId="{B26A15CA-F3F5-4028-A470-3140582DBAC5}"/>
          </ac:picMkLst>
        </pc:picChg>
        <pc:picChg chg="add mod">
          <ac:chgData name="Vincent Kharsyad [Chillibreeze]" userId="7b5f9e7a-8cb6-4e11-ad75-0918041740fe" providerId="ADAL" clId="{9D6E1852-5810-4B53-BDF5-FE17275CA0ED}" dt="2020-07-13T11:14:52.393" v="723" actId="12789"/>
          <ac:picMkLst>
            <pc:docMk/>
            <pc:sldMk cId="1796562944" sldId="1940"/>
            <ac:picMk id="65" creationId="{694C07FC-0F22-4FBD-B4CC-3DDEE6CDBBDC}"/>
          </ac:picMkLst>
        </pc:picChg>
        <pc:picChg chg="add mod">
          <ac:chgData name="Vincent Kharsyad [Chillibreeze]" userId="7b5f9e7a-8cb6-4e11-ad75-0918041740fe" providerId="ADAL" clId="{9D6E1852-5810-4B53-BDF5-FE17275CA0ED}" dt="2020-07-13T10:58:00.221" v="557"/>
          <ac:picMkLst>
            <pc:docMk/>
            <pc:sldMk cId="1796562944" sldId="1940"/>
            <ac:picMk id="67" creationId="{B7F37C1B-0016-4564-8AAB-225AC165E879}"/>
          </ac:picMkLst>
        </pc:picChg>
        <pc:picChg chg="add mod">
          <ac:chgData name="Vincent Kharsyad [Chillibreeze]" userId="7b5f9e7a-8cb6-4e11-ad75-0918041740fe" providerId="ADAL" clId="{9D6E1852-5810-4B53-BDF5-FE17275CA0ED}" dt="2020-07-13T11:42:14.951" v="1070" actId="962"/>
          <ac:picMkLst>
            <pc:docMk/>
            <pc:sldMk cId="1796562944" sldId="1940"/>
            <ac:picMk id="69" creationId="{B29CED74-D1D5-48A0-B874-94078F33BB1D}"/>
          </ac:picMkLst>
        </pc:picChg>
        <pc:picChg chg="add mod">
          <ac:chgData name="Vincent Kharsyad [Chillibreeze]" userId="7b5f9e7a-8cb6-4e11-ad75-0918041740fe" providerId="ADAL" clId="{9D6E1852-5810-4B53-BDF5-FE17275CA0ED}" dt="2020-07-13T10:58:16.493" v="565"/>
          <ac:picMkLst>
            <pc:docMk/>
            <pc:sldMk cId="1796562944" sldId="1940"/>
            <ac:picMk id="71" creationId="{ABC2B11C-86FE-4022-8C94-E36F039CD5F3}"/>
          </ac:picMkLst>
        </pc:picChg>
        <pc:picChg chg="add mod">
          <ac:chgData name="Vincent Kharsyad [Chillibreeze]" userId="7b5f9e7a-8cb6-4e11-ad75-0918041740fe" providerId="ADAL" clId="{9D6E1852-5810-4B53-BDF5-FE17275CA0ED}" dt="2020-07-13T10:58:21.693" v="569"/>
          <ac:picMkLst>
            <pc:docMk/>
            <pc:sldMk cId="1796562944" sldId="1940"/>
            <ac:picMk id="73" creationId="{7B703051-5453-4442-B361-10D078373CB8}"/>
          </ac:picMkLst>
        </pc:picChg>
        <pc:picChg chg="add mod">
          <ac:chgData name="Vincent Kharsyad [Chillibreeze]" userId="7b5f9e7a-8cb6-4e11-ad75-0918041740fe" providerId="ADAL" clId="{9D6E1852-5810-4B53-BDF5-FE17275CA0ED}" dt="2020-07-13T10:58:31.252" v="573"/>
          <ac:picMkLst>
            <pc:docMk/>
            <pc:sldMk cId="1796562944" sldId="1940"/>
            <ac:picMk id="75" creationId="{852BE29D-AD95-449A-A8BA-36BDAD0D3DD1}"/>
          </ac:picMkLst>
        </pc:picChg>
      </pc:sldChg>
      <pc:sldChg chg="addSp delSp modSp mod">
        <pc:chgData name="Vincent Kharsyad [Chillibreeze]" userId="7b5f9e7a-8cb6-4e11-ad75-0918041740fe" providerId="ADAL" clId="{9D6E1852-5810-4B53-BDF5-FE17275CA0ED}" dt="2020-07-13T11:40:56.526" v="1068" actId="962"/>
        <pc:sldMkLst>
          <pc:docMk/>
          <pc:sldMk cId="591348677" sldId="1941"/>
        </pc:sldMkLst>
        <pc:spChg chg="mod">
          <ac:chgData name="Vincent Kharsyad [Chillibreeze]" userId="7b5f9e7a-8cb6-4e11-ad75-0918041740fe" providerId="ADAL" clId="{9D6E1852-5810-4B53-BDF5-FE17275CA0ED}" dt="2020-07-13T04:54:10.040" v="74" actId="20577"/>
          <ac:spMkLst>
            <pc:docMk/>
            <pc:sldMk cId="591348677" sldId="1941"/>
            <ac:spMk id="2" creationId="{D0161B9C-B4A1-4E8B-BDD0-8D4B9DE9519A}"/>
          </ac:spMkLst>
        </pc:spChg>
        <pc:spChg chg="mod">
          <ac:chgData name="Vincent Kharsyad [Chillibreeze]" userId="7b5f9e7a-8cb6-4e11-ad75-0918041740fe" providerId="ADAL" clId="{9D6E1852-5810-4B53-BDF5-FE17275CA0ED}" dt="2020-07-13T10:59:24.714" v="576" actId="165"/>
          <ac:spMkLst>
            <pc:docMk/>
            <pc:sldMk cId="591348677" sldId="1941"/>
            <ac:spMk id="29" creationId="{AA2BC792-0F9B-4FC7-8EF1-7C2FFBCA0D40}"/>
          </ac:spMkLst>
        </pc:spChg>
        <pc:spChg chg="mod">
          <ac:chgData name="Vincent Kharsyad [Chillibreeze]" userId="7b5f9e7a-8cb6-4e11-ad75-0918041740fe" providerId="ADAL" clId="{9D6E1852-5810-4B53-BDF5-FE17275CA0ED}" dt="2020-07-13T10:59:24.714" v="576" actId="165"/>
          <ac:spMkLst>
            <pc:docMk/>
            <pc:sldMk cId="591348677" sldId="1941"/>
            <ac:spMk id="30" creationId="{A390D647-EFAE-42F0-8A8D-859B3C25D11F}"/>
          </ac:spMkLst>
        </pc:spChg>
        <pc:spChg chg="mod">
          <ac:chgData name="Vincent Kharsyad [Chillibreeze]" userId="7b5f9e7a-8cb6-4e11-ad75-0918041740fe" providerId="ADAL" clId="{9D6E1852-5810-4B53-BDF5-FE17275CA0ED}" dt="2020-07-13T10:59:24.714" v="576" actId="165"/>
          <ac:spMkLst>
            <pc:docMk/>
            <pc:sldMk cId="591348677" sldId="1941"/>
            <ac:spMk id="34" creationId="{97C2BEE9-2511-47A3-9690-FCB65DFC88E2}"/>
          </ac:spMkLst>
        </pc:spChg>
        <pc:spChg chg="mod">
          <ac:chgData name="Vincent Kharsyad [Chillibreeze]" userId="7b5f9e7a-8cb6-4e11-ad75-0918041740fe" providerId="ADAL" clId="{9D6E1852-5810-4B53-BDF5-FE17275CA0ED}" dt="2020-07-13T10:59:24.714" v="576" actId="165"/>
          <ac:spMkLst>
            <pc:docMk/>
            <pc:sldMk cId="591348677" sldId="1941"/>
            <ac:spMk id="35" creationId="{753FC6F5-291F-4289-83A7-FE3247484745}"/>
          </ac:spMkLst>
        </pc:spChg>
        <pc:spChg chg="mod topLvl">
          <ac:chgData name="Vincent Kharsyad [Chillibreeze]" userId="7b5f9e7a-8cb6-4e11-ad75-0918041740fe" providerId="ADAL" clId="{9D6E1852-5810-4B53-BDF5-FE17275CA0ED}" dt="2020-07-13T10:59:55.041" v="578" actId="164"/>
          <ac:spMkLst>
            <pc:docMk/>
            <pc:sldMk cId="591348677" sldId="1941"/>
            <ac:spMk id="39" creationId="{083AFDE2-BA64-4D8E-9864-2549D95BA3D9}"/>
          </ac:spMkLst>
        </pc:spChg>
        <pc:spChg chg="mod topLvl">
          <ac:chgData name="Vincent Kharsyad [Chillibreeze]" userId="7b5f9e7a-8cb6-4e11-ad75-0918041740fe" providerId="ADAL" clId="{9D6E1852-5810-4B53-BDF5-FE17275CA0ED}" dt="2020-07-13T10:59:55.041" v="578" actId="164"/>
          <ac:spMkLst>
            <pc:docMk/>
            <pc:sldMk cId="591348677" sldId="1941"/>
            <ac:spMk id="40" creationId="{9D3CF099-DB92-45D4-8530-F178E22B2659}"/>
          </ac:spMkLst>
        </pc:spChg>
        <pc:spChg chg="mod">
          <ac:chgData name="Vincent Kharsyad [Chillibreeze]" userId="7b5f9e7a-8cb6-4e11-ad75-0918041740fe" providerId="ADAL" clId="{9D6E1852-5810-4B53-BDF5-FE17275CA0ED}" dt="2020-07-13T10:59:24.714" v="576" actId="165"/>
          <ac:spMkLst>
            <pc:docMk/>
            <pc:sldMk cId="591348677" sldId="1941"/>
            <ac:spMk id="46" creationId="{84F03AF4-43F8-44A9-9DEE-277627BE924E}"/>
          </ac:spMkLst>
        </pc:spChg>
        <pc:spChg chg="mod">
          <ac:chgData name="Vincent Kharsyad [Chillibreeze]" userId="7b5f9e7a-8cb6-4e11-ad75-0918041740fe" providerId="ADAL" clId="{9D6E1852-5810-4B53-BDF5-FE17275CA0ED}" dt="2020-07-13T10:59:24.714" v="576" actId="165"/>
          <ac:spMkLst>
            <pc:docMk/>
            <pc:sldMk cId="591348677" sldId="1941"/>
            <ac:spMk id="47" creationId="{323BA0A3-9FBD-4F1C-8E83-FDE733A3A409}"/>
          </ac:spMkLst>
        </pc:spChg>
        <pc:spChg chg="mod">
          <ac:chgData name="Vincent Kharsyad [Chillibreeze]" userId="7b5f9e7a-8cb6-4e11-ad75-0918041740fe" providerId="ADAL" clId="{9D6E1852-5810-4B53-BDF5-FE17275CA0ED}" dt="2020-07-13T10:59:24.714" v="576" actId="165"/>
          <ac:spMkLst>
            <pc:docMk/>
            <pc:sldMk cId="591348677" sldId="1941"/>
            <ac:spMk id="50" creationId="{91F5D180-521E-40BE-8BB2-2BA69BD57BD0}"/>
          </ac:spMkLst>
        </pc:spChg>
        <pc:spChg chg="mod">
          <ac:chgData name="Vincent Kharsyad [Chillibreeze]" userId="7b5f9e7a-8cb6-4e11-ad75-0918041740fe" providerId="ADAL" clId="{9D6E1852-5810-4B53-BDF5-FE17275CA0ED}" dt="2020-07-13T10:59:24.714" v="576" actId="165"/>
          <ac:spMkLst>
            <pc:docMk/>
            <pc:sldMk cId="591348677" sldId="1941"/>
            <ac:spMk id="51" creationId="{1B76AB3B-75D3-44A3-8C37-3E72394E4A4A}"/>
          </ac:spMkLst>
        </pc:spChg>
        <pc:spChg chg="mod">
          <ac:chgData name="Vincent Kharsyad [Chillibreeze]" userId="7b5f9e7a-8cb6-4e11-ad75-0918041740fe" providerId="ADAL" clId="{9D6E1852-5810-4B53-BDF5-FE17275CA0ED}" dt="2020-07-13T10:59:24.714" v="576" actId="165"/>
          <ac:spMkLst>
            <pc:docMk/>
            <pc:sldMk cId="591348677" sldId="1941"/>
            <ac:spMk id="55" creationId="{CDC75CC0-A8F9-4996-90CA-3CC349406135}"/>
          </ac:spMkLst>
        </pc:spChg>
        <pc:spChg chg="mod">
          <ac:chgData name="Vincent Kharsyad [Chillibreeze]" userId="7b5f9e7a-8cb6-4e11-ad75-0918041740fe" providerId="ADAL" clId="{9D6E1852-5810-4B53-BDF5-FE17275CA0ED}" dt="2020-07-13T10:59:24.714" v="576" actId="165"/>
          <ac:spMkLst>
            <pc:docMk/>
            <pc:sldMk cId="591348677" sldId="1941"/>
            <ac:spMk id="56" creationId="{CECC5100-74DB-44FD-90C8-3D02C367DBDB}"/>
          </ac:spMkLst>
        </pc:spChg>
        <pc:spChg chg="mod">
          <ac:chgData name="Vincent Kharsyad [Chillibreeze]" userId="7b5f9e7a-8cb6-4e11-ad75-0918041740fe" providerId="ADAL" clId="{9D6E1852-5810-4B53-BDF5-FE17275CA0ED}" dt="2020-07-13T10:59:24.714" v="576" actId="165"/>
          <ac:spMkLst>
            <pc:docMk/>
            <pc:sldMk cId="591348677" sldId="1941"/>
            <ac:spMk id="60" creationId="{95F756ED-D733-41D8-B9FC-B1E1493C9AEC}"/>
          </ac:spMkLst>
        </pc:spChg>
        <pc:spChg chg="mod">
          <ac:chgData name="Vincent Kharsyad [Chillibreeze]" userId="7b5f9e7a-8cb6-4e11-ad75-0918041740fe" providerId="ADAL" clId="{9D6E1852-5810-4B53-BDF5-FE17275CA0ED}" dt="2020-07-13T10:59:24.714" v="576" actId="165"/>
          <ac:spMkLst>
            <pc:docMk/>
            <pc:sldMk cId="591348677" sldId="1941"/>
            <ac:spMk id="61" creationId="{6C591929-5A47-4D70-97A4-6AA48313DB9A}"/>
          </ac:spMkLst>
        </pc:spChg>
        <pc:spChg chg="add mod">
          <ac:chgData name="Vincent Kharsyad [Chillibreeze]" userId="7b5f9e7a-8cb6-4e11-ad75-0918041740fe" providerId="ADAL" clId="{9D6E1852-5810-4B53-BDF5-FE17275CA0ED}" dt="2020-07-13T11:15:39.505" v="735"/>
          <ac:spMkLst>
            <pc:docMk/>
            <pc:sldMk cId="591348677" sldId="1941"/>
            <ac:spMk id="71" creationId="{27C301BF-9D46-44C8-A055-18088408385F}"/>
          </ac:spMkLst>
        </pc:spChg>
        <pc:spChg chg="add mod">
          <ac:chgData name="Vincent Kharsyad [Chillibreeze]" userId="7b5f9e7a-8cb6-4e11-ad75-0918041740fe" providerId="ADAL" clId="{9D6E1852-5810-4B53-BDF5-FE17275CA0ED}" dt="2020-07-13T11:15:39.506" v="738"/>
          <ac:spMkLst>
            <pc:docMk/>
            <pc:sldMk cId="591348677" sldId="1941"/>
            <ac:spMk id="74" creationId="{89FD8D76-52AA-4B44-B5E7-A07C19C4A83D}"/>
          </ac:spMkLst>
        </pc:spChg>
        <pc:spChg chg="add mod">
          <ac:chgData name="Vincent Kharsyad [Chillibreeze]" userId="7b5f9e7a-8cb6-4e11-ad75-0918041740fe" providerId="ADAL" clId="{9D6E1852-5810-4B53-BDF5-FE17275CA0ED}" dt="2020-07-13T11:15:39.508" v="741"/>
          <ac:spMkLst>
            <pc:docMk/>
            <pc:sldMk cId="591348677" sldId="1941"/>
            <ac:spMk id="77" creationId="{2B178F0A-D602-4E53-A4F4-C21C3FD78661}"/>
          </ac:spMkLst>
        </pc:spChg>
        <pc:spChg chg="add mod">
          <ac:chgData name="Vincent Kharsyad [Chillibreeze]" userId="7b5f9e7a-8cb6-4e11-ad75-0918041740fe" providerId="ADAL" clId="{9D6E1852-5810-4B53-BDF5-FE17275CA0ED}" dt="2020-07-13T11:15:39.509" v="744"/>
          <ac:spMkLst>
            <pc:docMk/>
            <pc:sldMk cId="591348677" sldId="1941"/>
            <ac:spMk id="79" creationId="{67663F80-641B-4C52-8F62-E533B8367BC5}"/>
          </ac:spMkLst>
        </pc:spChg>
        <pc:spChg chg="add mod">
          <ac:chgData name="Vincent Kharsyad [Chillibreeze]" userId="7b5f9e7a-8cb6-4e11-ad75-0918041740fe" providerId="ADAL" clId="{9D6E1852-5810-4B53-BDF5-FE17275CA0ED}" dt="2020-07-13T11:15:39.509" v="747"/>
          <ac:spMkLst>
            <pc:docMk/>
            <pc:sldMk cId="591348677" sldId="1941"/>
            <ac:spMk id="81" creationId="{1BDC5E8C-5788-42D3-9A02-1832E8956957}"/>
          </ac:spMkLst>
        </pc:spChg>
        <pc:spChg chg="del">
          <ac:chgData name="Vincent Kharsyad [Chillibreeze]" userId="7b5f9e7a-8cb6-4e11-ad75-0918041740fe" providerId="ADAL" clId="{9D6E1852-5810-4B53-BDF5-FE17275CA0ED}" dt="2020-07-13T11:06:16.471" v="641" actId="21"/>
          <ac:spMkLst>
            <pc:docMk/>
            <pc:sldMk cId="591348677" sldId="1941"/>
            <ac:spMk id="83" creationId="{EED8DD50-A7B2-4D56-8ACF-E6958B950E34}"/>
          </ac:spMkLst>
        </pc:spChg>
        <pc:spChg chg="del">
          <ac:chgData name="Vincent Kharsyad [Chillibreeze]" userId="7b5f9e7a-8cb6-4e11-ad75-0918041740fe" providerId="ADAL" clId="{9D6E1852-5810-4B53-BDF5-FE17275CA0ED}" dt="2020-07-13T11:06:24.793" v="645" actId="21"/>
          <ac:spMkLst>
            <pc:docMk/>
            <pc:sldMk cId="591348677" sldId="1941"/>
            <ac:spMk id="84" creationId="{1F9F2EE6-3C1C-41C6-95A7-DD2E559B9BBE}"/>
          </ac:spMkLst>
        </pc:spChg>
        <pc:spChg chg="del">
          <ac:chgData name="Vincent Kharsyad [Chillibreeze]" userId="7b5f9e7a-8cb6-4e11-ad75-0918041740fe" providerId="ADAL" clId="{9D6E1852-5810-4B53-BDF5-FE17275CA0ED}" dt="2020-07-13T11:06:34.568" v="649" actId="21"/>
          <ac:spMkLst>
            <pc:docMk/>
            <pc:sldMk cId="591348677" sldId="1941"/>
            <ac:spMk id="85" creationId="{584688BE-9D4A-4E29-B847-079D1398984C}"/>
          </ac:spMkLst>
        </pc:spChg>
        <pc:spChg chg="del">
          <ac:chgData name="Vincent Kharsyad [Chillibreeze]" userId="7b5f9e7a-8cb6-4e11-ad75-0918041740fe" providerId="ADAL" clId="{9D6E1852-5810-4B53-BDF5-FE17275CA0ED}" dt="2020-07-13T11:08:14.932" v="653" actId="21"/>
          <ac:spMkLst>
            <pc:docMk/>
            <pc:sldMk cId="591348677" sldId="1941"/>
            <ac:spMk id="86" creationId="{B35C9F93-AB04-4D20-B8D4-7AADE814D3AB}"/>
          </ac:spMkLst>
        </pc:spChg>
        <pc:spChg chg="del">
          <ac:chgData name="Vincent Kharsyad [Chillibreeze]" userId="7b5f9e7a-8cb6-4e11-ad75-0918041740fe" providerId="ADAL" clId="{9D6E1852-5810-4B53-BDF5-FE17275CA0ED}" dt="2020-07-13T11:08:20.655" v="657" actId="21"/>
          <ac:spMkLst>
            <pc:docMk/>
            <pc:sldMk cId="591348677" sldId="1941"/>
            <ac:spMk id="87" creationId="{2CB7788C-0DD9-4621-9019-B3909CAA23D1}"/>
          </ac:spMkLst>
        </pc:spChg>
        <pc:spChg chg="del">
          <ac:chgData name="Vincent Kharsyad [Chillibreeze]" userId="7b5f9e7a-8cb6-4e11-ad75-0918041740fe" providerId="ADAL" clId="{9D6E1852-5810-4B53-BDF5-FE17275CA0ED}" dt="2020-07-13T11:08:26.105" v="661" actId="21"/>
          <ac:spMkLst>
            <pc:docMk/>
            <pc:sldMk cId="591348677" sldId="1941"/>
            <ac:spMk id="88" creationId="{3A12A346-34C2-410C-ABCD-798F03C3D29C}"/>
          </ac:spMkLst>
        </pc:spChg>
        <pc:spChg chg="del">
          <ac:chgData name="Vincent Kharsyad [Chillibreeze]" userId="7b5f9e7a-8cb6-4e11-ad75-0918041740fe" providerId="ADAL" clId="{9D6E1852-5810-4B53-BDF5-FE17275CA0ED}" dt="2020-07-13T11:08:31.088" v="665" actId="21"/>
          <ac:spMkLst>
            <pc:docMk/>
            <pc:sldMk cId="591348677" sldId="1941"/>
            <ac:spMk id="89" creationId="{1F97469C-5F05-4C39-989C-40D1985153CF}"/>
          </ac:spMkLst>
        </pc:spChg>
        <pc:spChg chg="add mod">
          <ac:chgData name="Vincent Kharsyad [Chillibreeze]" userId="7b5f9e7a-8cb6-4e11-ad75-0918041740fe" providerId="ADAL" clId="{9D6E1852-5810-4B53-BDF5-FE17275CA0ED}" dt="2020-07-13T11:15:39.511" v="750"/>
          <ac:spMkLst>
            <pc:docMk/>
            <pc:sldMk cId="591348677" sldId="1941"/>
            <ac:spMk id="90" creationId="{8EDC3B3E-38CB-42DA-B994-0BAE5127D109}"/>
          </ac:spMkLst>
        </pc:spChg>
        <pc:spChg chg="add mod">
          <ac:chgData name="Vincent Kharsyad [Chillibreeze]" userId="7b5f9e7a-8cb6-4e11-ad75-0918041740fe" providerId="ADAL" clId="{9D6E1852-5810-4B53-BDF5-FE17275CA0ED}" dt="2020-07-13T11:15:39.512" v="753"/>
          <ac:spMkLst>
            <pc:docMk/>
            <pc:sldMk cId="591348677" sldId="1941"/>
            <ac:spMk id="92" creationId="{8E9525BD-703D-42DD-B24F-AE3BA4B6372B}"/>
          </ac:spMkLst>
        </pc:spChg>
        <pc:grpChg chg="add del mod">
          <ac:chgData name="Vincent Kharsyad [Chillibreeze]" userId="7b5f9e7a-8cb6-4e11-ad75-0918041740fe" providerId="ADAL" clId="{9D6E1852-5810-4B53-BDF5-FE17275CA0ED}" dt="2020-07-13T07:03:00.253" v="307" actId="165"/>
          <ac:grpSpMkLst>
            <pc:docMk/>
            <pc:sldMk cId="591348677" sldId="1941"/>
            <ac:grpSpMk id="3" creationId="{42CA5F0C-6412-4B82-B10A-47FF87640F17}"/>
          </ac:grpSpMkLst>
        </pc:grpChg>
        <pc:grpChg chg="add del mod">
          <ac:chgData name="Vincent Kharsyad [Chillibreeze]" userId="7b5f9e7a-8cb6-4e11-ad75-0918041740fe" providerId="ADAL" clId="{9D6E1852-5810-4B53-BDF5-FE17275CA0ED}" dt="2020-07-13T11:00:52.983" v="585" actId="21"/>
          <ac:grpSpMkLst>
            <pc:docMk/>
            <pc:sldMk cId="591348677" sldId="1941"/>
            <ac:grpSpMk id="3" creationId="{BF7FDC25-A40F-4C40-BDCC-094700C3FD28}"/>
          </ac:grpSpMkLst>
        </pc:grpChg>
        <pc:grpChg chg="del">
          <ac:chgData name="Vincent Kharsyad [Chillibreeze]" userId="7b5f9e7a-8cb6-4e11-ad75-0918041740fe" providerId="ADAL" clId="{9D6E1852-5810-4B53-BDF5-FE17275CA0ED}" dt="2020-07-13T10:59:24.714" v="576" actId="165"/>
          <ac:grpSpMkLst>
            <pc:docMk/>
            <pc:sldMk cId="591348677" sldId="1941"/>
            <ac:grpSpMk id="5" creationId="{823A9B59-A20F-4394-B825-B6A3B0A960A6}"/>
          </ac:grpSpMkLst>
        </pc:grpChg>
        <pc:grpChg chg="del">
          <ac:chgData name="Vincent Kharsyad [Chillibreeze]" userId="7b5f9e7a-8cb6-4e11-ad75-0918041740fe" providerId="ADAL" clId="{9D6E1852-5810-4B53-BDF5-FE17275CA0ED}" dt="2020-07-13T10:59:24.714" v="576" actId="165"/>
          <ac:grpSpMkLst>
            <pc:docMk/>
            <pc:sldMk cId="591348677" sldId="1941"/>
            <ac:grpSpMk id="6" creationId="{054CD304-16F2-4EAF-BF99-B79FD16A77D1}"/>
          </ac:grpSpMkLst>
        </pc:grpChg>
        <pc:grpChg chg="add del mod">
          <ac:chgData name="Vincent Kharsyad [Chillibreeze]" userId="7b5f9e7a-8cb6-4e11-ad75-0918041740fe" providerId="ADAL" clId="{9D6E1852-5810-4B53-BDF5-FE17275CA0ED}" dt="2020-07-13T10:59:24.714" v="576" actId="165"/>
          <ac:grpSpMkLst>
            <pc:docMk/>
            <pc:sldMk cId="591348677" sldId="1941"/>
            <ac:grpSpMk id="7" creationId="{97386424-5E00-4477-BC9F-56F0558D1781}"/>
          </ac:grpSpMkLst>
        </pc:grpChg>
        <pc:grpChg chg="add del mod">
          <ac:chgData name="Vincent Kharsyad [Chillibreeze]" userId="7b5f9e7a-8cb6-4e11-ad75-0918041740fe" providerId="ADAL" clId="{9D6E1852-5810-4B53-BDF5-FE17275CA0ED}" dt="2020-07-13T11:01:12.330" v="588" actId="21"/>
          <ac:grpSpMkLst>
            <pc:docMk/>
            <pc:sldMk cId="591348677" sldId="1941"/>
            <ac:grpSpMk id="8" creationId="{EC7EF98C-53FA-431A-97C2-A07455854C72}"/>
          </ac:grpSpMkLst>
        </pc:grpChg>
        <pc:grpChg chg="add del mod">
          <ac:chgData name="Vincent Kharsyad [Chillibreeze]" userId="7b5f9e7a-8cb6-4e11-ad75-0918041740fe" providerId="ADAL" clId="{9D6E1852-5810-4B53-BDF5-FE17275CA0ED}" dt="2020-07-13T11:01:25.769" v="593" actId="21"/>
          <ac:grpSpMkLst>
            <pc:docMk/>
            <pc:sldMk cId="591348677" sldId="1941"/>
            <ac:grpSpMk id="9" creationId="{C5ECEAB0-7637-42BB-B591-4475A423EA86}"/>
          </ac:grpSpMkLst>
        </pc:grpChg>
        <pc:grpChg chg="add del mod">
          <ac:chgData name="Vincent Kharsyad [Chillibreeze]" userId="7b5f9e7a-8cb6-4e11-ad75-0918041740fe" providerId="ADAL" clId="{9D6E1852-5810-4B53-BDF5-FE17275CA0ED}" dt="2020-07-13T11:01:33.692" v="595" actId="21"/>
          <ac:grpSpMkLst>
            <pc:docMk/>
            <pc:sldMk cId="591348677" sldId="1941"/>
            <ac:grpSpMk id="10" creationId="{BCBFB6E9-262F-4393-9F5B-5ACBB2715F85}"/>
          </ac:grpSpMkLst>
        </pc:grpChg>
        <pc:grpChg chg="add del mod">
          <ac:chgData name="Vincent Kharsyad [Chillibreeze]" userId="7b5f9e7a-8cb6-4e11-ad75-0918041740fe" providerId="ADAL" clId="{9D6E1852-5810-4B53-BDF5-FE17275CA0ED}" dt="2020-07-13T11:02:14.815" v="598" actId="21"/>
          <ac:grpSpMkLst>
            <pc:docMk/>
            <pc:sldMk cId="591348677" sldId="1941"/>
            <ac:grpSpMk id="11" creationId="{43E67FBE-4AEE-48AB-8950-8CCE11F170D6}"/>
          </ac:grpSpMkLst>
        </pc:grpChg>
        <pc:grpChg chg="add del mod">
          <ac:chgData name="Vincent Kharsyad [Chillibreeze]" userId="7b5f9e7a-8cb6-4e11-ad75-0918041740fe" providerId="ADAL" clId="{9D6E1852-5810-4B53-BDF5-FE17275CA0ED}" dt="2020-07-13T11:02:26.543" v="601" actId="21"/>
          <ac:grpSpMkLst>
            <pc:docMk/>
            <pc:sldMk cId="591348677" sldId="1941"/>
            <ac:grpSpMk id="12" creationId="{F5A576CF-1412-49BC-A44E-50BAEBF09535}"/>
          </ac:grpSpMkLst>
        </pc:grpChg>
        <pc:grpChg chg="add del mod">
          <ac:chgData name="Vincent Kharsyad [Chillibreeze]" userId="7b5f9e7a-8cb6-4e11-ad75-0918041740fe" providerId="ADAL" clId="{9D6E1852-5810-4B53-BDF5-FE17275CA0ED}" dt="2020-07-13T11:02:36.137" v="604" actId="21"/>
          <ac:grpSpMkLst>
            <pc:docMk/>
            <pc:sldMk cId="591348677" sldId="1941"/>
            <ac:grpSpMk id="13" creationId="{DFE24B5D-0B23-4F15-BE07-055B9F9C7F70}"/>
          </ac:grpSpMkLst>
        </pc:grpChg>
        <pc:grpChg chg="mod topLvl">
          <ac:chgData name="Vincent Kharsyad [Chillibreeze]" userId="7b5f9e7a-8cb6-4e11-ad75-0918041740fe" providerId="ADAL" clId="{9D6E1852-5810-4B53-BDF5-FE17275CA0ED}" dt="2020-07-13T10:59:57.779" v="579" actId="164"/>
          <ac:grpSpMkLst>
            <pc:docMk/>
            <pc:sldMk cId="591348677" sldId="1941"/>
            <ac:grpSpMk id="28" creationId="{6D966B6D-34DD-477D-8EBB-F484D5FEBFAA}"/>
          </ac:grpSpMkLst>
        </pc:grpChg>
        <pc:grpChg chg="mod topLvl">
          <ac:chgData name="Vincent Kharsyad [Chillibreeze]" userId="7b5f9e7a-8cb6-4e11-ad75-0918041740fe" providerId="ADAL" clId="{9D6E1852-5810-4B53-BDF5-FE17275CA0ED}" dt="2020-07-13T11:00:00.046" v="580" actId="164"/>
          <ac:grpSpMkLst>
            <pc:docMk/>
            <pc:sldMk cId="591348677" sldId="1941"/>
            <ac:grpSpMk id="33" creationId="{4E81C2DD-79ED-4BE5-97C7-7BDA6A371917}"/>
          </ac:grpSpMkLst>
        </pc:grpChg>
        <pc:grpChg chg="del mod topLvl">
          <ac:chgData name="Vincent Kharsyad [Chillibreeze]" userId="7b5f9e7a-8cb6-4e11-ad75-0918041740fe" providerId="ADAL" clId="{9D6E1852-5810-4B53-BDF5-FE17275CA0ED}" dt="2020-07-13T04:40:22.130" v="31" actId="165"/>
          <ac:grpSpMkLst>
            <pc:docMk/>
            <pc:sldMk cId="591348677" sldId="1941"/>
            <ac:grpSpMk id="38" creationId="{338C0808-CD47-4C87-8CF4-8151E09B640E}"/>
          </ac:grpSpMkLst>
        </pc:grpChg>
        <pc:grpChg chg="del">
          <ac:chgData name="Vincent Kharsyad [Chillibreeze]" userId="7b5f9e7a-8cb6-4e11-ad75-0918041740fe" providerId="ADAL" clId="{9D6E1852-5810-4B53-BDF5-FE17275CA0ED}" dt="2020-07-13T10:59:24.714" v="576" actId="165"/>
          <ac:grpSpMkLst>
            <pc:docMk/>
            <pc:sldMk cId="591348677" sldId="1941"/>
            <ac:grpSpMk id="43" creationId="{56065B94-9F47-430C-9F3D-8D95861A87FF}"/>
          </ac:grpSpMkLst>
        </pc:grpChg>
        <pc:grpChg chg="mod topLvl">
          <ac:chgData name="Vincent Kharsyad [Chillibreeze]" userId="7b5f9e7a-8cb6-4e11-ad75-0918041740fe" providerId="ADAL" clId="{9D6E1852-5810-4B53-BDF5-FE17275CA0ED}" dt="2020-07-13T11:00:01.672" v="581" actId="164"/>
          <ac:grpSpMkLst>
            <pc:docMk/>
            <pc:sldMk cId="591348677" sldId="1941"/>
            <ac:grpSpMk id="44" creationId="{E9FA760B-6CCA-4F64-B91A-3FA27924F26B}"/>
          </ac:grpSpMkLst>
        </pc:grpChg>
        <pc:grpChg chg="mod topLvl">
          <ac:chgData name="Vincent Kharsyad [Chillibreeze]" userId="7b5f9e7a-8cb6-4e11-ad75-0918041740fe" providerId="ADAL" clId="{9D6E1852-5810-4B53-BDF5-FE17275CA0ED}" dt="2020-07-13T11:00:03.391" v="582" actId="164"/>
          <ac:grpSpMkLst>
            <pc:docMk/>
            <pc:sldMk cId="591348677" sldId="1941"/>
            <ac:grpSpMk id="49" creationId="{27EC3CB4-EB38-40F6-961B-C3DE51DDE645}"/>
          </ac:grpSpMkLst>
        </pc:grpChg>
        <pc:grpChg chg="mod topLvl">
          <ac:chgData name="Vincent Kharsyad [Chillibreeze]" userId="7b5f9e7a-8cb6-4e11-ad75-0918041740fe" providerId="ADAL" clId="{9D6E1852-5810-4B53-BDF5-FE17275CA0ED}" dt="2020-07-13T11:00:06.893" v="583" actId="164"/>
          <ac:grpSpMkLst>
            <pc:docMk/>
            <pc:sldMk cId="591348677" sldId="1941"/>
            <ac:grpSpMk id="54" creationId="{B88ECA00-5F59-4006-97ED-8E3BF4F43FF6}"/>
          </ac:grpSpMkLst>
        </pc:grpChg>
        <pc:grpChg chg="mod topLvl">
          <ac:chgData name="Vincent Kharsyad [Chillibreeze]" userId="7b5f9e7a-8cb6-4e11-ad75-0918041740fe" providerId="ADAL" clId="{9D6E1852-5810-4B53-BDF5-FE17275CA0ED}" dt="2020-07-13T11:00:10.747" v="584" actId="164"/>
          <ac:grpSpMkLst>
            <pc:docMk/>
            <pc:sldMk cId="591348677" sldId="1941"/>
            <ac:grpSpMk id="59" creationId="{0E15FAD3-6BFC-4A6B-840F-284E81E586CF}"/>
          </ac:grpSpMkLst>
        </pc:grpChg>
        <pc:grpChg chg="del">
          <ac:chgData name="Vincent Kharsyad [Chillibreeze]" userId="7b5f9e7a-8cb6-4e11-ad75-0918041740fe" providerId="ADAL" clId="{9D6E1852-5810-4B53-BDF5-FE17275CA0ED}" dt="2020-07-13T10:59:24.714" v="576" actId="165"/>
          <ac:grpSpMkLst>
            <pc:docMk/>
            <pc:sldMk cId="591348677" sldId="1941"/>
            <ac:grpSpMk id="64" creationId="{E260EF49-ACB4-475C-AE90-F58C947A3416}"/>
          </ac:grpSpMkLst>
        </pc:grpChg>
        <pc:grpChg chg="del">
          <ac:chgData name="Vincent Kharsyad [Chillibreeze]" userId="7b5f9e7a-8cb6-4e11-ad75-0918041740fe" providerId="ADAL" clId="{9D6E1852-5810-4B53-BDF5-FE17275CA0ED}" dt="2020-07-13T10:59:24.714" v="576" actId="165"/>
          <ac:grpSpMkLst>
            <pc:docMk/>
            <pc:sldMk cId="591348677" sldId="1941"/>
            <ac:grpSpMk id="73" creationId="{06CEEFC9-2315-4A1C-8A1C-AC4C78762F07}"/>
          </ac:grpSpMkLst>
        </pc:grpChg>
        <pc:grpChg chg="del">
          <ac:chgData name="Vincent Kharsyad [Chillibreeze]" userId="7b5f9e7a-8cb6-4e11-ad75-0918041740fe" providerId="ADAL" clId="{9D6E1852-5810-4B53-BDF5-FE17275CA0ED}" dt="2020-07-13T10:59:24.714" v="576" actId="165"/>
          <ac:grpSpMkLst>
            <pc:docMk/>
            <pc:sldMk cId="591348677" sldId="1941"/>
            <ac:grpSpMk id="75" creationId="{F1EFF4D0-E7FC-4436-8BE3-33D25B8D76E1}"/>
          </ac:grpSpMkLst>
        </pc:grpChg>
        <pc:grpChg chg="del">
          <ac:chgData name="Vincent Kharsyad [Chillibreeze]" userId="7b5f9e7a-8cb6-4e11-ad75-0918041740fe" providerId="ADAL" clId="{9D6E1852-5810-4B53-BDF5-FE17275CA0ED}" dt="2020-07-13T04:40:19.386" v="30" actId="165"/>
          <ac:grpSpMkLst>
            <pc:docMk/>
            <pc:sldMk cId="591348677" sldId="1941"/>
            <ac:grpSpMk id="90" creationId="{5AE2B61F-2CCA-41CB-B74F-D3F164D8C7EF}"/>
          </ac:grpSpMkLst>
        </pc:grpChg>
        <pc:picChg chg="del mod topLvl">
          <ac:chgData name="Vincent Kharsyad [Chillibreeze]" userId="7b5f9e7a-8cb6-4e11-ad75-0918041740fe" providerId="ADAL" clId="{9D6E1852-5810-4B53-BDF5-FE17275CA0ED}" dt="2020-07-13T05:08:36.111" v="128" actId="478"/>
          <ac:picMkLst>
            <pc:docMk/>
            <pc:sldMk cId="591348677" sldId="1941"/>
            <ac:picMk id="8" creationId="{AE92A829-727C-4872-84B1-DAD238841644}"/>
          </ac:picMkLst>
        </pc:picChg>
        <pc:picChg chg="del mod">
          <ac:chgData name="Vincent Kharsyad [Chillibreeze]" userId="7b5f9e7a-8cb6-4e11-ad75-0918041740fe" providerId="ADAL" clId="{9D6E1852-5810-4B53-BDF5-FE17275CA0ED}" dt="2020-07-13T11:06:13.026" v="639" actId="21"/>
          <ac:picMkLst>
            <pc:docMk/>
            <pc:sldMk cId="591348677" sldId="1941"/>
            <ac:picMk id="14" creationId="{80997326-A260-4633-81D7-89C1AECA3587}"/>
          </ac:picMkLst>
        </pc:picChg>
        <pc:picChg chg="del mod">
          <ac:chgData name="Vincent Kharsyad [Chillibreeze]" userId="7b5f9e7a-8cb6-4e11-ad75-0918041740fe" providerId="ADAL" clId="{9D6E1852-5810-4B53-BDF5-FE17275CA0ED}" dt="2020-07-13T11:06:21.823" v="643" actId="21"/>
          <ac:picMkLst>
            <pc:docMk/>
            <pc:sldMk cId="591348677" sldId="1941"/>
            <ac:picMk id="15" creationId="{E6BC7D5C-FDD7-4B55-B4F8-231FF8E6ECD1}"/>
          </ac:picMkLst>
        </pc:picChg>
        <pc:picChg chg="del mod">
          <ac:chgData name="Vincent Kharsyad [Chillibreeze]" userId="7b5f9e7a-8cb6-4e11-ad75-0918041740fe" providerId="ADAL" clId="{9D6E1852-5810-4B53-BDF5-FE17275CA0ED}" dt="2020-07-13T11:06:31.551" v="647" actId="21"/>
          <ac:picMkLst>
            <pc:docMk/>
            <pc:sldMk cId="591348677" sldId="1941"/>
            <ac:picMk id="16" creationId="{3556B875-42E4-4CCE-AC6A-C8269D12222C}"/>
          </ac:picMkLst>
        </pc:picChg>
        <pc:picChg chg="del mod">
          <ac:chgData name="Vincent Kharsyad [Chillibreeze]" userId="7b5f9e7a-8cb6-4e11-ad75-0918041740fe" providerId="ADAL" clId="{9D6E1852-5810-4B53-BDF5-FE17275CA0ED}" dt="2020-07-13T11:08:11.858" v="651" actId="21"/>
          <ac:picMkLst>
            <pc:docMk/>
            <pc:sldMk cId="591348677" sldId="1941"/>
            <ac:picMk id="17" creationId="{D74A9461-6F4B-428C-91CD-AF40F871A05D}"/>
          </ac:picMkLst>
        </pc:picChg>
        <pc:picChg chg="del mod">
          <ac:chgData name="Vincent Kharsyad [Chillibreeze]" userId="7b5f9e7a-8cb6-4e11-ad75-0918041740fe" providerId="ADAL" clId="{9D6E1852-5810-4B53-BDF5-FE17275CA0ED}" dt="2020-07-13T11:08:17.695" v="655" actId="21"/>
          <ac:picMkLst>
            <pc:docMk/>
            <pc:sldMk cId="591348677" sldId="1941"/>
            <ac:picMk id="18" creationId="{47AAD70D-1C11-4B6C-A906-FD6982093BF5}"/>
          </ac:picMkLst>
        </pc:picChg>
        <pc:picChg chg="del mod">
          <ac:chgData name="Vincent Kharsyad [Chillibreeze]" userId="7b5f9e7a-8cb6-4e11-ad75-0918041740fe" providerId="ADAL" clId="{9D6E1852-5810-4B53-BDF5-FE17275CA0ED}" dt="2020-07-13T11:08:23.543" v="659" actId="21"/>
          <ac:picMkLst>
            <pc:docMk/>
            <pc:sldMk cId="591348677" sldId="1941"/>
            <ac:picMk id="19" creationId="{C5D76B4B-54B9-492B-AFCF-B0443EDC9640}"/>
          </ac:picMkLst>
        </pc:picChg>
        <pc:picChg chg="del mod">
          <ac:chgData name="Vincent Kharsyad [Chillibreeze]" userId="7b5f9e7a-8cb6-4e11-ad75-0918041740fe" providerId="ADAL" clId="{9D6E1852-5810-4B53-BDF5-FE17275CA0ED}" dt="2020-07-13T11:08:28.775" v="663" actId="21"/>
          <ac:picMkLst>
            <pc:docMk/>
            <pc:sldMk cId="591348677" sldId="1941"/>
            <ac:picMk id="20" creationId="{9E864B7C-64B0-400A-9950-C9EE311FB99D}"/>
          </ac:picMkLst>
        </pc:picChg>
        <pc:picChg chg="mod topLvl">
          <ac:chgData name="Vincent Kharsyad [Chillibreeze]" userId="7b5f9e7a-8cb6-4e11-ad75-0918041740fe" providerId="ADAL" clId="{9D6E1852-5810-4B53-BDF5-FE17275CA0ED}" dt="2020-07-13T11:00:00.046" v="580" actId="164"/>
          <ac:picMkLst>
            <pc:docMk/>
            <pc:sldMk cId="591348677" sldId="1941"/>
            <ac:picMk id="36" creationId="{243709C7-D64A-4A78-B734-EA153D7550BC}"/>
          </ac:picMkLst>
        </pc:picChg>
        <pc:picChg chg="mod topLvl">
          <ac:chgData name="Vincent Kharsyad [Chillibreeze]" userId="7b5f9e7a-8cb6-4e11-ad75-0918041740fe" providerId="ADAL" clId="{9D6E1852-5810-4B53-BDF5-FE17275CA0ED}" dt="2020-07-13T11:00:01.672" v="581" actId="164"/>
          <ac:picMkLst>
            <pc:docMk/>
            <pc:sldMk cId="591348677" sldId="1941"/>
            <ac:picMk id="45" creationId="{09032ECF-4D75-4F9A-A883-310398F444E2}"/>
          </ac:picMkLst>
        </pc:picChg>
        <pc:picChg chg="mod topLvl">
          <ac:chgData name="Vincent Kharsyad [Chillibreeze]" userId="7b5f9e7a-8cb6-4e11-ad75-0918041740fe" providerId="ADAL" clId="{9D6E1852-5810-4B53-BDF5-FE17275CA0ED}" dt="2020-07-13T10:59:57.779" v="579" actId="164"/>
          <ac:picMkLst>
            <pc:docMk/>
            <pc:sldMk cId="591348677" sldId="1941"/>
            <ac:picMk id="48" creationId="{CDA2C7DB-AE74-4E2B-8112-77BDC1222A89}"/>
          </ac:picMkLst>
        </pc:picChg>
        <pc:picChg chg="mod topLvl">
          <ac:chgData name="Vincent Kharsyad [Chillibreeze]" userId="7b5f9e7a-8cb6-4e11-ad75-0918041740fe" providerId="ADAL" clId="{9D6E1852-5810-4B53-BDF5-FE17275CA0ED}" dt="2020-07-13T11:00:03.391" v="582" actId="164"/>
          <ac:picMkLst>
            <pc:docMk/>
            <pc:sldMk cId="591348677" sldId="1941"/>
            <ac:picMk id="52" creationId="{4508710A-9878-46BC-99B2-DB6B987EE9E1}"/>
          </ac:picMkLst>
        </pc:picChg>
        <pc:picChg chg="mod topLvl">
          <ac:chgData name="Vincent Kharsyad [Chillibreeze]" userId="7b5f9e7a-8cb6-4e11-ad75-0918041740fe" providerId="ADAL" clId="{9D6E1852-5810-4B53-BDF5-FE17275CA0ED}" dt="2020-07-13T11:00:06.893" v="583" actId="164"/>
          <ac:picMkLst>
            <pc:docMk/>
            <pc:sldMk cId="591348677" sldId="1941"/>
            <ac:picMk id="53" creationId="{72AAB645-353C-48A6-9733-2E30128411C5}"/>
          </ac:picMkLst>
        </pc:picChg>
        <pc:picChg chg="add mod topLvl">
          <ac:chgData name="Vincent Kharsyad [Chillibreeze]" userId="7b5f9e7a-8cb6-4e11-ad75-0918041740fe" providerId="ADAL" clId="{9D6E1852-5810-4B53-BDF5-FE17275CA0ED}" dt="2020-07-13T10:59:55.041" v="578" actId="164"/>
          <ac:picMkLst>
            <pc:docMk/>
            <pc:sldMk cId="591348677" sldId="1941"/>
            <ac:picMk id="57" creationId="{985CF3F8-EA68-475F-B8D6-1EEAAF09F92C}"/>
          </ac:picMkLst>
        </pc:picChg>
        <pc:picChg chg="add del mod">
          <ac:chgData name="Vincent Kharsyad [Chillibreeze]" userId="7b5f9e7a-8cb6-4e11-ad75-0918041740fe" providerId="ADAL" clId="{9D6E1852-5810-4B53-BDF5-FE17275CA0ED}" dt="2020-07-13T11:05:02.252" v="638" actId="478"/>
          <ac:picMkLst>
            <pc:docMk/>
            <pc:sldMk cId="591348677" sldId="1941"/>
            <ac:picMk id="58" creationId="{DC83E7EE-F65E-4811-9911-B2CD837D5552}"/>
          </ac:picMkLst>
        </pc:picChg>
        <pc:picChg chg="mod topLvl">
          <ac:chgData name="Vincent Kharsyad [Chillibreeze]" userId="7b5f9e7a-8cb6-4e11-ad75-0918041740fe" providerId="ADAL" clId="{9D6E1852-5810-4B53-BDF5-FE17275CA0ED}" dt="2020-07-13T11:00:10.747" v="584" actId="164"/>
          <ac:picMkLst>
            <pc:docMk/>
            <pc:sldMk cId="591348677" sldId="1941"/>
            <ac:picMk id="62" creationId="{CA089862-3D34-4A08-B926-FF7B6F6B43C9}"/>
          </ac:picMkLst>
        </pc:picChg>
        <pc:picChg chg="add del mod">
          <ac:chgData name="Vincent Kharsyad [Chillibreeze]" userId="7b5f9e7a-8cb6-4e11-ad75-0918041740fe" providerId="ADAL" clId="{9D6E1852-5810-4B53-BDF5-FE17275CA0ED}" dt="2020-07-13T11:05:02.252" v="638" actId="478"/>
          <ac:picMkLst>
            <pc:docMk/>
            <pc:sldMk cId="591348677" sldId="1941"/>
            <ac:picMk id="63" creationId="{7295046B-CAAE-4EC6-B239-D6F18D2E06EF}"/>
          </ac:picMkLst>
        </pc:picChg>
        <pc:picChg chg="add del mod">
          <ac:chgData name="Vincent Kharsyad [Chillibreeze]" userId="7b5f9e7a-8cb6-4e11-ad75-0918041740fe" providerId="ADAL" clId="{9D6E1852-5810-4B53-BDF5-FE17275CA0ED}" dt="2020-07-13T11:05:02.252" v="638" actId="478"/>
          <ac:picMkLst>
            <pc:docMk/>
            <pc:sldMk cId="591348677" sldId="1941"/>
            <ac:picMk id="65" creationId="{5B7D6CEC-4577-474F-999A-FE4D134C3694}"/>
          </ac:picMkLst>
        </pc:picChg>
        <pc:picChg chg="add del mod">
          <ac:chgData name="Vincent Kharsyad [Chillibreeze]" userId="7b5f9e7a-8cb6-4e11-ad75-0918041740fe" providerId="ADAL" clId="{9D6E1852-5810-4B53-BDF5-FE17275CA0ED}" dt="2020-07-13T11:05:02.252" v="638" actId="478"/>
          <ac:picMkLst>
            <pc:docMk/>
            <pc:sldMk cId="591348677" sldId="1941"/>
            <ac:picMk id="66" creationId="{28BDA560-494B-4F4C-93A7-7E3A246FB644}"/>
          </ac:picMkLst>
        </pc:picChg>
        <pc:picChg chg="add del mod">
          <ac:chgData name="Vincent Kharsyad [Chillibreeze]" userId="7b5f9e7a-8cb6-4e11-ad75-0918041740fe" providerId="ADAL" clId="{9D6E1852-5810-4B53-BDF5-FE17275CA0ED}" dt="2020-07-13T11:05:02.252" v="638" actId="478"/>
          <ac:picMkLst>
            <pc:docMk/>
            <pc:sldMk cId="591348677" sldId="1941"/>
            <ac:picMk id="67" creationId="{C8E4E26A-5741-4B41-A797-2934F46652C7}"/>
          </ac:picMkLst>
        </pc:picChg>
        <pc:picChg chg="add del mod">
          <ac:chgData name="Vincent Kharsyad [Chillibreeze]" userId="7b5f9e7a-8cb6-4e11-ad75-0918041740fe" providerId="ADAL" clId="{9D6E1852-5810-4B53-BDF5-FE17275CA0ED}" dt="2020-07-13T11:05:02.252" v="638" actId="478"/>
          <ac:picMkLst>
            <pc:docMk/>
            <pc:sldMk cId="591348677" sldId="1941"/>
            <ac:picMk id="68" creationId="{379AD58B-FCCF-4B36-A779-E6986CF1C430}"/>
          </ac:picMkLst>
        </pc:picChg>
        <pc:picChg chg="add del mod">
          <ac:chgData name="Vincent Kharsyad [Chillibreeze]" userId="7b5f9e7a-8cb6-4e11-ad75-0918041740fe" providerId="ADAL" clId="{9D6E1852-5810-4B53-BDF5-FE17275CA0ED}" dt="2020-07-13T11:05:02.252" v="638" actId="478"/>
          <ac:picMkLst>
            <pc:docMk/>
            <pc:sldMk cId="591348677" sldId="1941"/>
            <ac:picMk id="69" creationId="{0CD29794-369E-4BFC-AA65-93F04346219F}"/>
          </ac:picMkLst>
        </pc:picChg>
        <pc:picChg chg="add mod">
          <ac:chgData name="Vincent Kharsyad [Chillibreeze]" userId="7b5f9e7a-8cb6-4e11-ad75-0918041740fe" providerId="ADAL" clId="{9D6E1852-5810-4B53-BDF5-FE17275CA0ED}" dt="2020-07-13T11:15:04.203" v="725" actId="12789"/>
          <ac:picMkLst>
            <pc:docMk/>
            <pc:sldMk cId="591348677" sldId="1941"/>
            <ac:picMk id="70" creationId="{2485CC25-DAA5-418C-B702-A4C6A5369966}"/>
          </ac:picMkLst>
        </pc:picChg>
        <pc:picChg chg="add mod">
          <ac:chgData name="Vincent Kharsyad [Chillibreeze]" userId="7b5f9e7a-8cb6-4e11-ad75-0918041740fe" providerId="ADAL" clId="{9D6E1852-5810-4B53-BDF5-FE17275CA0ED}" dt="2020-07-13T11:15:06.969" v="726" actId="12789"/>
          <ac:picMkLst>
            <pc:docMk/>
            <pc:sldMk cId="591348677" sldId="1941"/>
            <ac:picMk id="72" creationId="{B1B1F4A4-7EC6-4E1D-90FE-36EF57A9E2E4}"/>
          </ac:picMkLst>
        </pc:picChg>
        <pc:picChg chg="add mod">
          <ac:chgData name="Vincent Kharsyad [Chillibreeze]" userId="7b5f9e7a-8cb6-4e11-ad75-0918041740fe" providerId="ADAL" clId="{9D6E1852-5810-4B53-BDF5-FE17275CA0ED}" dt="2020-07-13T11:40:42.701" v="1066" actId="962"/>
          <ac:picMkLst>
            <pc:docMk/>
            <pc:sldMk cId="591348677" sldId="1941"/>
            <ac:picMk id="76" creationId="{A99E3B1C-72EC-43C0-9BC6-66847EBDFE44}"/>
          </ac:picMkLst>
        </pc:picChg>
        <pc:picChg chg="add mod">
          <ac:chgData name="Vincent Kharsyad [Chillibreeze]" userId="7b5f9e7a-8cb6-4e11-ad75-0918041740fe" providerId="ADAL" clId="{9D6E1852-5810-4B53-BDF5-FE17275CA0ED}" dt="2020-07-13T11:40:56.526" v="1068" actId="962"/>
          <ac:picMkLst>
            <pc:docMk/>
            <pc:sldMk cId="591348677" sldId="1941"/>
            <ac:picMk id="78" creationId="{CC638140-DE3B-4AB1-88AD-29D009FF05DA}"/>
          </ac:picMkLst>
        </pc:picChg>
        <pc:picChg chg="add mod">
          <ac:chgData name="Vincent Kharsyad [Chillibreeze]" userId="7b5f9e7a-8cb6-4e11-ad75-0918041740fe" providerId="ADAL" clId="{9D6E1852-5810-4B53-BDF5-FE17275CA0ED}" dt="2020-07-13T11:40:31.755" v="1064" actId="962"/>
          <ac:picMkLst>
            <pc:docMk/>
            <pc:sldMk cId="591348677" sldId="1941"/>
            <ac:picMk id="80" creationId="{44171202-112C-4EF0-9093-FEA129FE5F07}"/>
          </ac:picMkLst>
        </pc:picChg>
        <pc:picChg chg="add mod">
          <ac:chgData name="Vincent Kharsyad [Chillibreeze]" userId="7b5f9e7a-8cb6-4e11-ad75-0918041740fe" providerId="ADAL" clId="{9D6E1852-5810-4B53-BDF5-FE17275CA0ED}" dt="2020-07-13T11:15:18.759" v="730" actId="12789"/>
          <ac:picMkLst>
            <pc:docMk/>
            <pc:sldMk cId="591348677" sldId="1941"/>
            <ac:picMk id="82" creationId="{F64354C7-6A41-4069-B221-06CBE19DA77B}"/>
          </ac:picMkLst>
        </pc:picChg>
        <pc:picChg chg="add mod">
          <ac:chgData name="Vincent Kharsyad [Chillibreeze]" userId="7b5f9e7a-8cb6-4e11-ad75-0918041740fe" providerId="ADAL" clId="{9D6E1852-5810-4B53-BDF5-FE17275CA0ED}" dt="2020-07-13T11:15:20.982" v="731" actId="12789"/>
          <ac:picMkLst>
            <pc:docMk/>
            <pc:sldMk cId="591348677" sldId="1941"/>
            <ac:picMk id="91" creationId="{30A70166-ED6B-4BDA-A8CB-642182D5A077}"/>
          </ac:picMkLst>
        </pc:picChg>
      </pc:sldChg>
      <pc:sldChg chg="addSp delSp modSp mod">
        <pc:chgData name="Vincent Kharsyad [Chillibreeze]" userId="7b5f9e7a-8cb6-4e11-ad75-0918041740fe" providerId="ADAL" clId="{9D6E1852-5810-4B53-BDF5-FE17275CA0ED}" dt="2020-07-13T07:01:29.925" v="280" actId="478"/>
        <pc:sldMkLst>
          <pc:docMk/>
          <pc:sldMk cId="2402196036" sldId="1942"/>
        </pc:sldMkLst>
        <pc:spChg chg="mod">
          <ac:chgData name="Vincent Kharsyad [Chillibreeze]" userId="7b5f9e7a-8cb6-4e11-ad75-0918041740fe" providerId="ADAL" clId="{9D6E1852-5810-4B53-BDF5-FE17275CA0ED}" dt="2020-07-13T04:54:19.879" v="76" actId="20577"/>
          <ac:spMkLst>
            <pc:docMk/>
            <pc:sldMk cId="2402196036" sldId="1942"/>
            <ac:spMk id="4" creationId="{0CD8665D-5A50-4F07-9D33-48CCD3FD74C7}"/>
          </ac:spMkLst>
        </pc:spChg>
        <pc:spChg chg="add del mod ord">
          <ac:chgData name="Vincent Kharsyad [Chillibreeze]" userId="7b5f9e7a-8cb6-4e11-ad75-0918041740fe" providerId="ADAL" clId="{9D6E1852-5810-4B53-BDF5-FE17275CA0ED}" dt="2020-07-13T07:01:29.925" v="280" actId="478"/>
          <ac:spMkLst>
            <pc:docMk/>
            <pc:sldMk cId="2402196036" sldId="1942"/>
            <ac:spMk id="5" creationId="{D6402125-C3AA-4744-BDE9-8851E4734398}"/>
          </ac:spMkLst>
        </pc:spChg>
        <pc:picChg chg="mod modCrop">
          <ac:chgData name="Vincent Kharsyad [Chillibreeze]" userId="7b5f9e7a-8cb6-4e11-ad75-0918041740fe" providerId="ADAL" clId="{9D6E1852-5810-4B53-BDF5-FE17275CA0ED}" dt="2020-07-13T07:01:27.128" v="279" actId="12788"/>
          <ac:picMkLst>
            <pc:docMk/>
            <pc:sldMk cId="2402196036" sldId="1942"/>
            <ac:picMk id="3" creationId="{B89D6553-01D0-458A-A370-26C78EFEBC44}"/>
          </ac:picMkLst>
        </pc:picChg>
      </pc:sldChg>
      <pc:sldChg chg="addSp delSp modSp mod">
        <pc:chgData name="Vincent Kharsyad [Chillibreeze]" userId="7b5f9e7a-8cb6-4e11-ad75-0918041740fe" providerId="ADAL" clId="{9D6E1852-5810-4B53-BDF5-FE17275CA0ED}" dt="2020-07-13T12:01:32.397" v="1196" actId="1036"/>
        <pc:sldMkLst>
          <pc:docMk/>
          <pc:sldMk cId="1309834942" sldId="1943"/>
        </pc:sldMkLst>
        <pc:spChg chg="mod">
          <ac:chgData name="Vincent Kharsyad [Chillibreeze]" userId="7b5f9e7a-8cb6-4e11-ad75-0918041740fe" providerId="ADAL" clId="{9D6E1852-5810-4B53-BDF5-FE17275CA0ED}" dt="2020-07-13T04:56:04.368" v="82" actId="20577"/>
          <ac:spMkLst>
            <pc:docMk/>
            <pc:sldMk cId="1309834942" sldId="1943"/>
            <ac:spMk id="2" creationId="{A4F73E18-C4BF-4BB3-8E97-4DD775CC5B98}"/>
          </ac:spMkLst>
        </pc:spChg>
        <pc:spChg chg="mod">
          <ac:chgData name="Vincent Kharsyad [Chillibreeze]" userId="7b5f9e7a-8cb6-4e11-ad75-0918041740fe" providerId="ADAL" clId="{9D6E1852-5810-4B53-BDF5-FE17275CA0ED}" dt="2020-07-13T12:01:32.397" v="1196" actId="1036"/>
          <ac:spMkLst>
            <pc:docMk/>
            <pc:sldMk cId="1309834942" sldId="1943"/>
            <ac:spMk id="9" creationId="{1AB8FABD-80F9-4396-BE4F-97FA84A5C605}"/>
          </ac:spMkLst>
        </pc:spChg>
        <pc:spChg chg="mod topLvl">
          <ac:chgData name="Vincent Kharsyad [Chillibreeze]" userId="7b5f9e7a-8cb6-4e11-ad75-0918041740fe" providerId="ADAL" clId="{9D6E1852-5810-4B53-BDF5-FE17275CA0ED}" dt="2020-07-13T11:09:04.149" v="669" actId="164"/>
          <ac:spMkLst>
            <pc:docMk/>
            <pc:sldMk cId="1309834942" sldId="1943"/>
            <ac:spMk id="13" creationId="{880E2E79-2B97-423B-AAF5-821CA8F4102C}"/>
          </ac:spMkLst>
        </pc:spChg>
        <pc:spChg chg="mod topLvl">
          <ac:chgData name="Vincent Kharsyad [Chillibreeze]" userId="7b5f9e7a-8cb6-4e11-ad75-0918041740fe" providerId="ADAL" clId="{9D6E1852-5810-4B53-BDF5-FE17275CA0ED}" dt="2020-07-13T11:09:04.149" v="669" actId="164"/>
          <ac:spMkLst>
            <pc:docMk/>
            <pc:sldMk cId="1309834942" sldId="1943"/>
            <ac:spMk id="14" creationId="{A6C213F8-5D46-4F6F-BEA3-76981851F721}"/>
          </ac:spMkLst>
        </pc:spChg>
        <pc:spChg chg="mod">
          <ac:chgData name="Vincent Kharsyad [Chillibreeze]" userId="7b5f9e7a-8cb6-4e11-ad75-0918041740fe" providerId="ADAL" clId="{9D6E1852-5810-4B53-BDF5-FE17275CA0ED}" dt="2020-07-13T11:10:08.024" v="683" actId="13244"/>
          <ac:spMkLst>
            <pc:docMk/>
            <pc:sldMk cId="1309834942" sldId="1943"/>
            <ac:spMk id="15" creationId="{60BC454C-1CED-40FA-B429-5E2DBB126F2D}"/>
          </ac:spMkLst>
        </pc:spChg>
        <pc:grpChg chg="add del mod">
          <ac:chgData name="Vincent Kharsyad [Chillibreeze]" userId="7b5f9e7a-8cb6-4e11-ad75-0918041740fe" providerId="ADAL" clId="{9D6E1852-5810-4B53-BDF5-FE17275CA0ED}" dt="2020-07-13T05:19:15.368" v="156" actId="165"/>
          <ac:grpSpMkLst>
            <pc:docMk/>
            <pc:sldMk cId="1309834942" sldId="1943"/>
            <ac:grpSpMk id="3" creationId="{7902257E-DBCA-4C40-90AA-50BF00EAC1CD}"/>
          </ac:grpSpMkLst>
        </pc:grpChg>
        <pc:grpChg chg="add del mod">
          <ac:chgData name="Vincent Kharsyad [Chillibreeze]" userId="7b5f9e7a-8cb6-4e11-ad75-0918041740fe" providerId="ADAL" clId="{9D6E1852-5810-4B53-BDF5-FE17275CA0ED}" dt="2020-07-13T11:08:58.561" v="667" actId="165"/>
          <ac:grpSpMkLst>
            <pc:docMk/>
            <pc:sldMk cId="1309834942" sldId="1943"/>
            <ac:grpSpMk id="3" creationId="{ADC31340-B5D4-4BBA-8D59-67C459661A34}"/>
          </ac:grpSpMkLst>
        </pc:grpChg>
        <pc:grpChg chg="add del mod">
          <ac:chgData name="Vincent Kharsyad [Chillibreeze]" userId="7b5f9e7a-8cb6-4e11-ad75-0918041740fe" providerId="ADAL" clId="{9D6E1852-5810-4B53-BDF5-FE17275CA0ED}" dt="2020-07-13T11:09:05.021" v="670" actId="21"/>
          <ac:grpSpMkLst>
            <pc:docMk/>
            <pc:sldMk cId="1309834942" sldId="1943"/>
            <ac:grpSpMk id="4" creationId="{260E59F2-6EDA-40BA-9D7E-64AD10728F6A}"/>
          </ac:grpSpMkLst>
        </pc:grpChg>
        <pc:grpChg chg="add del mod">
          <ac:chgData name="Vincent Kharsyad [Chillibreeze]" userId="7b5f9e7a-8cb6-4e11-ad75-0918041740fe" providerId="ADAL" clId="{9D6E1852-5810-4B53-BDF5-FE17275CA0ED}" dt="2020-07-13T07:05:31.744" v="311" actId="165"/>
          <ac:grpSpMkLst>
            <pc:docMk/>
            <pc:sldMk cId="1309834942" sldId="1943"/>
            <ac:grpSpMk id="4" creationId="{A71E2C28-A286-457B-9129-EB0F56FC99DC}"/>
          </ac:grpSpMkLst>
        </pc:grpChg>
        <pc:grpChg chg="del">
          <ac:chgData name="Vincent Kharsyad [Chillibreeze]" userId="7b5f9e7a-8cb6-4e11-ad75-0918041740fe" providerId="ADAL" clId="{9D6E1852-5810-4B53-BDF5-FE17275CA0ED}" dt="2020-07-13T04:56:13.708" v="83" actId="165"/>
          <ac:grpSpMkLst>
            <pc:docMk/>
            <pc:sldMk cId="1309834942" sldId="1943"/>
            <ac:grpSpMk id="10" creationId="{8D9D6978-A898-4269-A408-3BF00D263C91}"/>
          </ac:grpSpMkLst>
        </pc:grpChg>
        <pc:grpChg chg="del mod topLvl">
          <ac:chgData name="Vincent Kharsyad [Chillibreeze]" userId="7b5f9e7a-8cb6-4e11-ad75-0918041740fe" providerId="ADAL" clId="{9D6E1852-5810-4B53-BDF5-FE17275CA0ED}" dt="2020-07-13T04:56:15.973" v="84" actId="165"/>
          <ac:grpSpMkLst>
            <pc:docMk/>
            <pc:sldMk cId="1309834942" sldId="1943"/>
            <ac:grpSpMk id="11" creationId="{5BC88C0F-4F85-4839-86E1-3EE42DDA861F}"/>
          </ac:grpSpMkLst>
        </pc:grpChg>
        <pc:picChg chg="mod">
          <ac:chgData name="Vincent Kharsyad [Chillibreeze]" userId="7b5f9e7a-8cb6-4e11-ad75-0918041740fe" providerId="ADAL" clId="{9D6E1852-5810-4B53-BDF5-FE17275CA0ED}" dt="2020-07-13T12:01:32.397" v="1196" actId="1036"/>
          <ac:picMkLst>
            <pc:docMk/>
            <pc:sldMk cId="1309834942" sldId="1943"/>
            <ac:picMk id="5" creationId="{D96BE544-D603-466B-8F44-9F5765160B8A}"/>
          </ac:picMkLst>
        </pc:picChg>
        <pc:picChg chg="add del mod">
          <ac:chgData name="Vincent Kharsyad [Chillibreeze]" userId="7b5f9e7a-8cb6-4e11-ad75-0918041740fe" providerId="ADAL" clId="{9D6E1852-5810-4B53-BDF5-FE17275CA0ED}" dt="2020-07-13T11:09:54.084" v="682" actId="478"/>
          <ac:picMkLst>
            <pc:docMk/>
            <pc:sldMk cId="1309834942" sldId="1943"/>
            <ac:picMk id="10" creationId="{F3CAD687-B2F0-4CFC-8978-755421547857}"/>
          </ac:picMkLst>
        </pc:picChg>
        <pc:picChg chg="mod topLvl">
          <ac:chgData name="Vincent Kharsyad [Chillibreeze]" userId="7b5f9e7a-8cb6-4e11-ad75-0918041740fe" providerId="ADAL" clId="{9D6E1852-5810-4B53-BDF5-FE17275CA0ED}" dt="2020-07-13T11:09:04.149" v="669" actId="164"/>
          <ac:picMkLst>
            <pc:docMk/>
            <pc:sldMk cId="1309834942" sldId="1943"/>
            <ac:picMk id="12" creationId="{B55EB12D-B3CD-4194-83E8-C91B636A0484}"/>
          </ac:picMkLst>
        </pc:picChg>
      </pc:sldChg>
      <pc:sldChg chg="addSp delSp modSp mod">
        <pc:chgData name="Vincent Kharsyad [Chillibreeze]" userId="7b5f9e7a-8cb6-4e11-ad75-0918041740fe" providerId="ADAL" clId="{9D6E1852-5810-4B53-BDF5-FE17275CA0ED}" dt="2020-07-13T11:42:49.819" v="1072" actId="1076"/>
        <pc:sldMkLst>
          <pc:docMk/>
          <pc:sldMk cId="1091227316" sldId="1944"/>
        </pc:sldMkLst>
        <pc:spChg chg="mod">
          <ac:chgData name="Vincent Kharsyad [Chillibreeze]" userId="7b5f9e7a-8cb6-4e11-ad75-0918041740fe" providerId="ADAL" clId="{9D6E1852-5810-4B53-BDF5-FE17275CA0ED}" dt="2020-07-13T04:57:09.419" v="89" actId="20577"/>
          <ac:spMkLst>
            <pc:docMk/>
            <pc:sldMk cId="1091227316" sldId="1944"/>
            <ac:spMk id="2" creationId="{5B102C09-E817-4F8F-ABD2-832EEFF390ED}"/>
          </ac:spMkLst>
        </pc:spChg>
        <pc:spChg chg="mod topLvl">
          <ac:chgData name="Vincent Kharsyad [Chillibreeze]" userId="7b5f9e7a-8cb6-4e11-ad75-0918041740fe" providerId="ADAL" clId="{9D6E1852-5810-4B53-BDF5-FE17275CA0ED}" dt="2020-07-13T11:10:42.292" v="688" actId="164"/>
          <ac:spMkLst>
            <pc:docMk/>
            <pc:sldMk cId="1091227316" sldId="1944"/>
            <ac:spMk id="5" creationId="{24645D61-0558-4DE1-8BF4-562E8C90F093}"/>
          </ac:spMkLst>
        </pc:spChg>
        <pc:spChg chg="mod topLvl">
          <ac:chgData name="Vincent Kharsyad [Chillibreeze]" userId="7b5f9e7a-8cb6-4e11-ad75-0918041740fe" providerId="ADAL" clId="{9D6E1852-5810-4B53-BDF5-FE17275CA0ED}" dt="2020-07-13T11:10:42.292" v="688" actId="164"/>
          <ac:spMkLst>
            <pc:docMk/>
            <pc:sldMk cId="1091227316" sldId="1944"/>
            <ac:spMk id="6" creationId="{3F405C51-3726-44F7-8A09-9864993F263C}"/>
          </ac:spMkLst>
        </pc:spChg>
        <pc:spChg chg="mod">
          <ac:chgData name="Vincent Kharsyad [Chillibreeze]" userId="7b5f9e7a-8cb6-4e11-ad75-0918041740fe" providerId="ADAL" clId="{9D6E1852-5810-4B53-BDF5-FE17275CA0ED}" dt="2020-07-13T11:17:24.783" v="755" actId="13244"/>
          <ac:spMkLst>
            <pc:docMk/>
            <pc:sldMk cId="1091227316" sldId="1944"/>
            <ac:spMk id="8" creationId="{7544243E-8E7B-4622-BB53-A2C02B6F26C0}"/>
          </ac:spMkLst>
        </pc:spChg>
        <pc:spChg chg="mod">
          <ac:chgData name="Vincent Kharsyad [Chillibreeze]" userId="7b5f9e7a-8cb6-4e11-ad75-0918041740fe" providerId="ADAL" clId="{9D6E1852-5810-4B53-BDF5-FE17275CA0ED}" dt="2020-07-13T11:10:26.456" v="686" actId="165"/>
          <ac:spMkLst>
            <pc:docMk/>
            <pc:sldMk cId="1091227316" sldId="1944"/>
            <ac:spMk id="23" creationId="{B919CCA3-9C5E-4258-955A-5C3EF103AFDE}"/>
          </ac:spMkLst>
        </pc:spChg>
        <pc:spChg chg="mod">
          <ac:chgData name="Vincent Kharsyad [Chillibreeze]" userId="7b5f9e7a-8cb6-4e11-ad75-0918041740fe" providerId="ADAL" clId="{9D6E1852-5810-4B53-BDF5-FE17275CA0ED}" dt="2020-07-13T11:10:26.456" v="686" actId="165"/>
          <ac:spMkLst>
            <pc:docMk/>
            <pc:sldMk cId="1091227316" sldId="1944"/>
            <ac:spMk id="24" creationId="{51C90B59-3CB2-4B0D-AC53-E5934162FA81}"/>
          </ac:spMkLst>
        </pc:spChg>
        <pc:spChg chg="mod">
          <ac:chgData name="Vincent Kharsyad [Chillibreeze]" userId="7b5f9e7a-8cb6-4e11-ad75-0918041740fe" providerId="ADAL" clId="{9D6E1852-5810-4B53-BDF5-FE17275CA0ED}" dt="2020-07-13T11:10:26.456" v="686" actId="165"/>
          <ac:spMkLst>
            <pc:docMk/>
            <pc:sldMk cId="1091227316" sldId="1944"/>
            <ac:spMk id="34" creationId="{5E567F55-32E6-4023-9C3D-85E7C71D0806}"/>
          </ac:spMkLst>
        </pc:spChg>
        <pc:spChg chg="mod">
          <ac:chgData name="Vincent Kharsyad [Chillibreeze]" userId="7b5f9e7a-8cb6-4e11-ad75-0918041740fe" providerId="ADAL" clId="{9D6E1852-5810-4B53-BDF5-FE17275CA0ED}" dt="2020-07-13T11:10:26.456" v="686" actId="165"/>
          <ac:spMkLst>
            <pc:docMk/>
            <pc:sldMk cId="1091227316" sldId="1944"/>
            <ac:spMk id="35" creationId="{F25EB60A-3640-475C-8F8D-9AD9315FF9CE}"/>
          </ac:spMkLst>
        </pc:spChg>
        <pc:spChg chg="mod">
          <ac:chgData name="Vincent Kharsyad [Chillibreeze]" userId="7b5f9e7a-8cb6-4e11-ad75-0918041740fe" providerId="ADAL" clId="{9D6E1852-5810-4B53-BDF5-FE17275CA0ED}" dt="2020-07-13T11:18:29.949" v="761" actId="12789"/>
          <ac:spMkLst>
            <pc:docMk/>
            <pc:sldMk cId="1091227316" sldId="1944"/>
            <ac:spMk id="45" creationId="{61B2E846-DB08-466E-8470-56F194457A97}"/>
          </ac:spMkLst>
        </pc:spChg>
        <pc:spChg chg="mod">
          <ac:chgData name="Vincent Kharsyad [Chillibreeze]" userId="7b5f9e7a-8cb6-4e11-ad75-0918041740fe" providerId="ADAL" clId="{9D6E1852-5810-4B53-BDF5-FE17275CA0ED}" dt="2020-07-13T11:18:27.607" v="760" actId="12789"/>
          <ac:spMkLst>
            <pc:docMk/>
            <pc:sldMk cId="1091227316" sldId="1944"/>
            <ac:spMk id="46" creationId="{BCE7C5D5-D840-4EA6-9A51-1BEE64B25B89}"/>
          </ac:spMkLst>
        </pc:spChg>
        <pc:grpChg chg="del mod">
          <ac:chgData name="Vincent Kharsyad [Chillibreeze]" userId="7b5f9e7a-8cb6-4e11-ad75-0918041740fe" providerId="ADAL" clId="{9D6E1852-5810-4B53-BDF5-FE17275CA0ED}" dt="2020-07-13T11:10:26.456" v="686" actId="165"/>
          <ac:grpSpMkLst>
            <pc:docMk/>
            <pc:sldMk cId="1091227316" sldId="1944"/>
            <ac:grpSpMk id="3" creationId="{CD8D7CDA-85E8-4A9E-AAEF-AA5DBAA36552}"/>
          </ac:grpSpMkLst>
        </pc:grpChg>
        <pc:grpChg chg="del mod topLvl">
          <ac:chgData name="Vincent Kharsyad [Chillibreeze]" userId="7b5f9e7a-8cb6-4e11-ad75-0918041740fe" providerId="ADAL" clId="{9D6E1852-5810-4B53-BDF5-FE17275CA0ED}" dt="2020-07-13T05:21:37.007" v="160" actId="165"/>
          <ac:grpSpMkLst>
            <pc:docMk/>
            <pc:sldMk cId="1091227316" sldId="1944"/>
            <ac:grpSpMk id="4" creationId="{521268C5-7771-4179-A10D-90A8FF131640}"/>
          </ac:grpSpMkLst>
        </pc:grpChg>
        <pc:grpChg chg="add del mod">
          <ac:chgData name="Vincent Kharsyad [Chillibreeze]" userId="7b5f9e7a-8cb6-4e11-ad75-0918041740fe" providerId="ADAL" clId="{9D6E1852-5810-4B53-BDF5-FE17275CA0ED}" dt="2020-07-13T11:10:24.216" v="685" actId="165"/>
          <ac:grpSpMkLst>
            <pc:docMk/>
            <pc:sldMk cId="1091227316" sldId="1944"/>
            <ac:grpSpMk id="4" creationId="{6BA09E2B-BA47-479D-9476-EBB3D0530F39}"/>
          </ac:grpSpMkLst>
        </pc:grpChg>
        <pc:grpChg chg="add del mod">
          <ac:chgData name="Vincent Kharsyad [Chillibreeze]" userId="7b5f9e7a-8cb6-4e11-ad75-0918041740fe" providerId="ADAL" clId="{9D6E1852-5810-4B53-BDF5-FE17275CA0ED}" dt="2020-07-13T11:10:49.744" v="691" actId="21"/>
          <ac:grpSpMkLst>
            <pc:docMk/>
            <pc:sldMk cId="1091227316" sldId="1944"/>
            <ac:grpSpMk id="7" creationId="{08A12D51-391B-4B77-8E15-5ECFA5508977}"/>
          </ac:grpSpMkLst>
        </pc:grpChg>
        <pc:grpChg chg="del">
          <ac:chgData name="Vincent Kharsyad [Chillibreeze]" userId="7b5f9e7a-8cb6-4e11-ad75-0918041740fe" providerId="ADAL" clId="{9D6E1852-5810-4B53-BDF5-FE17275CA0ED}" dt="2020-07-13T05:21:36.781" v="159" actId="165"/>
          <ac:grpSpMkLst>
            <pc:docMk/>
            <pc:sldMk cId="1091227316" sldId="1944"/>
            <ac:grpSpMk id="7" creationId="{C751913E-FD6A-41D2-94B0-0E356FEBF833}"/>
          </ac:grpSpMkLst>
        </pc:grpChg>
        <pc:grpChg chg="add del mod">
          <ac:chgData name="Vincent Kharsyad [Chillibreeze]" userId="7b5f9e7a-8cb6-4e11-ad75-0918041740fe" providerId="ADAL" clId="{9D6E1852-5810-4B53-BDF5-FE17275CA0ED}" dt="2020-07-13T07:05:51.772" v="313" actId="165"/>
          <ac:grpSpMkLst>
            <pc:docMk/>
            <pc:sldMk cId="1091227316" sldId="1944"/>
            <ac:grpSpMk id="9" creationId="{339D5F46-FF39-44EA-AA73-B60BC6F693A9}"/>
          </ac:grpSpMkLst>
        </pc:grpChg>
        <pc:grpChg chg="add del mod">
          <ac:chgData name="Vincent Kharsyad [Chillibreeze]" userId="7b5f9e7a-8cb6-4e11-ad75-0918041740fe" providerId="ADAL" clId="{9D6E1852-5810-4B53-BDF5-FE17275CA0ED}" dt="2020-07-13T11:11:07.348" v="694" actId="21"/>
          <ac:grpSpMkLst>
            <pc:docMk/>
            <pc:sldMk cId="1091227316" sldId="1944"/>
            <ac:grpSpMk id="9" creationId="{E816300C-4B19-470B-8DA2-50DCF4D95834}"/>
          </ac:grpSpMkLst>
        </pc:grpChg>
        <pc:grpChg chg="add del mod">
          <ac:chgData name="Vincent Kharsyad [Chillibreeze]" userId="7b5f9e7a-8cb6-4e11-ad75-0918041740fe" providerId="ADAL" clId="{9D6E1852-5810-4B53-BDF5-FE17275CA0ED}" dt="2020-07-13T11:11:35.094" v="699" actId="21"/>
          <ac:grpSpMkLst>
            <pc:docMk/>
            <pc:sldMk cId="1091227316" sldId="1944"/>
            <ac:grpSpMk id="10" creationId="{6FAD87AF-AA96-463F-A67B-66467D0EBD74}"/>
          </ac:grpSpMkLst>
        </pc:grpChg>
        <pc:grpChg chg="del mod">
          <ac:chgData name="Vincent Kharsyad [Chillibreeze]" userId="7b5f9e7a-8cb6-4e11-ad75-0918041740fe" providerId="ADAL" clId="{9D6E1852-5810-4B53-BDF5-FE17275CA0ED}" dt="2020-07-13T11:10:26.456" v="686" actId="165"/>
          <ac:grpSpMkLst>
            <pc:docMk/>
            <pc:sldMk cId="1091227316" sldId="1944"/>
            <ac:grpSpMk id="13" creationId="{1B13FDD3-FD87-43C8-9662-016D28A2E586}"/>
          </ac:grpSpMkLst>
        </pc:grpChg>
        <pc:grpChg chg="mod topLvl">
          <ac:chgData name="Vincent Kharsyad [Chillibreeze]" userId="7b5f9e7a-8cb6-4e11-ad75-0918041740fe" providerId="ADAL" clId="{9D6E1852-5810-4B53-BDF5-FE17275CA0ED}" dt="2020-07-13T11:10:44.370" v="689" actId="164"/>
          <ac:grpSpMkLst>
            <pc:docMk/>
            <pc:sldMk cId="1091227316" sldId="1944"/>
            <ac:grpSpMk id="22" creationId="{5F5E1208-C006-4CC9-B79E-FED84429381D}"/>
          </ac:grpSpMkLst>
        </pc:grpChg>
        <pc:grpChg chg="mod topLvl">
          <ac:chgData name="Vincent Kharsyad [Chillibreeze]" userId="7b5f9e7a-8cb6-4e11-ad75-0918041740fe" providerId="ADAL" clId="{9D6E1852-5810-4B53-BDF5-FE17275CA0ED}" dt="2020-07-13T11:10:46.315" v="690" actId="164"/>
          <ac:grpSpMkLst>
            <pc:docMk/>
            <pc:sldMk cId="1091227316" sldId="1944"/>
            <ac:grpSpMk id="32" creationId="{1612EEBA-46BD-481A-AEC0-226D0B181C22}"/>
          </ac:grpSpMkLst>
        </pc:grpChg>
        <pc:picChg chg="mod">
          <ac:chgData name="Vincent Kharsyad [Chillibreeze]" userId="7b5f9e7a-8cb6-4e11-ad75-0918041740fe" providerId="ADAL" clId="{9D6E1852-5810-4B53-BDF5-FE17275CA0ED}" dt="2020-07-13T11:17:18.982" v="754" actId="13244"/>
          <ac:picMkLst>
            <pc:docMk/>
            <pc:sldMk cId="1091227316" sldId="1944"/>
            <ac:picMk id="11" creationId="{78FBED65-D093-4206-B0DA-A249E3287A9D}"/>
          </ac:picMkLst>
        </pc:picChg>
        <pc:picChg chg="mod">
          <ac:chgData name="Vincent Kharsyad [Chillibreeze]" userId="7b5f9e7a-8cb6-4e11-ad75-0918041740fe" providerId="ADAL" clId="{9D6E1852-5810-4B53-BDF5-FE17275CA0ED}" dt="2020-07-13T11:18:27.607" v="760" actId="12789"/>
          <ac:picMkLst>
            <pc:docMk/>
            <pc:sldMk cId="1091227316" sldId="1944"/>
            <ac:picMk id="12" creationId="{E5A7E5C7-7E34-41F1-8782-15AC39877BE7}"/>
          </ac:picMkLst>
        </pc:picChg>
        <pc:picChg chg="mod">
          <ac:chgData name="Vincent Kharsyad [Chillibreeze]" userId="7b5f9e7a-8cb6-4e11-ad75-0918041740fe" providerId="ADAL" clId="{9D6E1852-5810-4B53-BDF5-FE17275CA0ED}" dt="2020-07-13T11:42:49.819" v="1072" actId="1076"/>
          <ac:picMkLst>
            <pc:docMk/>
            <pc:sldMk cId="1091227316" sldId="1944"/>
            <ac:picMk id="14" creationId="{308F6A84-2A4F-4150-9AE6-6ECEF30CF679}"/>
          </ac:picMkLst>
        </pc:picChg>
        <pc:picChg chg="add del mod">
          <ac:chgData name="Vincent Kharsyad [Chillibreeze]" userId="7b5f9e7a-8cb6-4e11-ad75-0918041740fe" providerId="ADAL" clId="{9D6E1852-5810-4B53-BDF5-FE17275CA0ED}" dt="2020-07-13T11:12:46.930" v="712" actId="478"/>
          <ac:picMkLst>
            <pc:docMk/>
            <pc:sldMk cId="1091227316" sldId="1944"/>
            <ac:picMk id="25" creationId="{13D53B11-91A7-4758-B03A-B222A4252DFF}"/>
          </ac:picMkLst>
        </pc:picChg>
        <pc:picChg chg="add del mod">
          <ac:chgData name="Vincent Kharsyad [Chillibreeze]" userId="7b5f9e7a-8cb6-4e11-ad75-0918041740fe" providerId="ADAL" clId="{9D6E1852-5810-4B53-BDF5-FE17275CA0ED}" dt="2020-07-13T11:12:46.930" v="712" actId="478"/>
          <ac:picMkLst>
            <pc:docMk/>
            <pc:sldMk cId="1091227316" sldId="1944"/>
            <ac:picMk id="26" creationId="{77696726-8429-48A9-9BD1-A35C9F055257}"/>
          </ac:picMkLst>
        </pc:picChg>
        <pc:picChg chg="add del mod">
          <ac:chgData name="Vincent Kharsyad [Chillibreeze]" userId="7b5f9e7a-8cb6-4e11-ad75-0918041740fe" providerId="ADAL" clId="{9D6E1852-5810-4B53-BDF5-FE17275CA0ED}" dt="2020-07-13T11:12:46.930" v="712" actId="478"/>
          <ac:picMkLst>
            <pc:docMk/>
            <pc:sldMk cId="1091227316" sldId="1944"/>
            <ac:picMk id="27" creationId="{56766093-4AE3-4D85-9CE4-3658CB009B2D}"/>
          </ac:picMkLst>
        </pc:picChg>
        <pc:picChg chg="mod topLvl">
          <ac:chgData name="Vincent Kharsyad [Chillibreeze]" userId="7b5f9e7a-8cb6-4e11-ad75-0918041740fe" providerId="ADAL" clId="{9D6E1852-5810-4B53-BDF5-FE17275CA0ED}" dt="2020-07-13T11:10:42.292" v="688" actId="164"/>
          <ac:picMkLst>
            <pc:docMk/>
            <pc:sldMk cId="1091227316" sldId="1944"/>
            <ac:picMk id="38" creationId="{855C11F8-CAA8-492F-B38A-F304D99EE204}"/>
          </ac:picMkLst>
        </pc:picChg>
        <pc:picChg chg="mod topLvl">
          <ac:chgData name="Vincent Kharsyad [Chillibreeze]" userId="7b5f9e7a-8cb6-4e11-ad75-0918041740fe" providerId="ADAL" clId="{9D6E1852-5810-4B53-BDF5-FE17275CA0ED}" dt="2020-07-13T11:10:44.370" v="689" actId="164"/>
          <ac:picMkLst>
            <pc:docMk/>
            <pc:sldMk cId="1091227316" sldId="1944"/>
            <ac:picMk id="40" creationId="{2EF2EB5F-C985-447C-A455-9A1898B63703}"/>
          </ac:picMkLst>
        </pc:picChg>
        <pc:picChg chg="mod topLvl">
          <ac:chgData name="Vincent Kharsyad [Chillibreeze]" userId="7b5f9e7a-8cb6-4e11-ad75-0918041740fe" providerId="ADAL" clId="{9D6E1852-5810-4B53-BDF5-FE17275CA0ED}" dt="2020-07-13T11:10:46.315" v="690" actId="164"/>
          <ac:picMkLst>
            <pc:docMk/>
            <pc:sldMk cId="1091227316" sldId="1944"/>
            <ac:picMk id="43" creationId="{4F5F7392-2196-456B-8FFD-6AD825A22C0C}"/>
          </ac:picMkLst>
        </pc:picChg>
        <pc:cxnChg chg="mod">
          <ac:chgData name="Vincent Kharsyad [Chillibreeze]" userId="7b5f9e7a-8cb6-4e11-ad75-0918041740fe" providerId="ADAL" clId="{9D6E1852-5810-4B53-BDF5-FE17275CA0ED}" dt="2020-07-13T11:18:39.103" v="763" actId="465"/>
          <ac:cxnSpMkLst>
            <pc:docMk/>
            <pc:sldMk cId="1091227316" sldId="1944"/>
            <ac:cxnSpMk id="21" creationId="{90299F12-77C2-4A4F-B1BA-DC3F7874C987}"/>
          </ac:cxnSpMkLst>
        </pc:cxnChg>
        <pc:cxnChg chg="mod">
          <ac:chgData name="Vincent Kharsyad [Chillibreeze]" userId="7b5f9e7a-8cb6-4e11-ad75-0918041740fe" providerId="ADAL" clId="{9D6E1852-5810-4B53-BDF5-FE17275CA0ED}" dt="2020-07-13T11:18:44.551" v="764" actId="465"/>
          <ac:cxnSpMkLst>
            <pc:docMk/>
            <pc:sldMk cId="1091227316" sldId="1944"/>
            <ac:cxnSpMk id="41" creationId="{FCCF6FB2-2624-4E78-9F4E-37B2472C2560}"/>
          </ac:cxnSpMkLst>
        </pc:cxnChg>
      </pc:sldChg>
      <pc:sldChg chg="modSp mod">
        <pc:chgData name="Vincent Kharsyad [Chillibreeze]" userId="7b5f9e7a-8cb6-4e11-ad75-0918041740fe" providerId="ADAL" clId="{9D6E1852-5810-4B53-BDF5-FE17275CA0ED}" dt="2020-07-13T11:47:04.084" v="1098" actId="14100"/>
        <pc:sldMkLst>
          <pc:docMk/>
          <pc:sldMk cId="3389964135" sldId="1945"/>
        </pc:sldMkLst>
        <pc:spChg chg="mod">
          <ac:chgData name="Vincent Kharsyad [Chillibreeze]" userId="7b5f9e7a-8cb6-4e11-ad75-0918041740fe" providerId="ADAL" clId="{9D6E1852-5810-4B53-BDF5-FE17275CA0ED}" dt="2020-07-13T04:57:21.690" v="90"/>
          <ac:spMkLst>
            <pc:docMk/>
            <pc:sldMk cId="3389964135" sldId="1945"/>
            <ac:spMk id="2" creationId="{24401EBD-ED19-4075-B5B2-90C51472964A}"/>
          </ac:spMkLst>
        </pc:spChg>
        <pc:spChg chg="mod">
          <ac:chgData name="Vincent Kharsyad [Chillibreeze]" userId="7b5f9e7a-8cb6-4e11-ad75-0918041740fe" providerId="ADAL" clId="{9D6E1852-5810-4B53-BDF5-FE17275CA0ED}" dt="2020-07-13T11:46:59.683" v="1097" actId="14100"/>
          <ac:spMkLst>
            <pc:docMk/>
            <pc:sldMk cId="3389964135" sldId="1945"/>
            <ac:spMk id="38" creationId="{8B2B666E-5AC6-43F4-941C-D4B9053E9EAC}"/>
          </ac:spMkLst>
        </pc:spChg>
        <pc:spChg chg="mod">
          <ac:chgData name="Vincent Kharsyad [Chillibreeze]" userId="7b5f9e7a-8cb6-4e11-ad75-0918041740fe" providerId="ADAL" clId="{9D6E1852-5810-4B53-BDF5-FE17275CA0ED}" dt="2020-07-13T11:47:04.084" v="1098" actId="14100"/>
          <ac:spMkLst>
            <pc:docMk/>
            <pc:sldMk cId="3389964135" sldId="1945"/>
            <ac:spMk id="39" creationId="{01EEEE1F-7E86-462B-AFC3-733FED924611}"/>
          </ac:spMkLst>
        </pc:spChg>
      </pc:sldChg>
      <pc:sldChg chg="modSp mod">
        <pc:chgData name="Vincent Kharsyad [Chillibreeze]" userId="7b5f9e7a-8cb6-4e11-ad75-0918041740fe" providerId="ADAL" clId="{9D6E1852-5810-4B53-BDF5-FE17275CA0ED}" dt="2020-07-13T11:19:46.637" v="767" actId="14100"/>
        <pc:sldMkLst>
          <pc:docMk/>
          <pc:sldMk cId="397689141" sldId="1947"/>
        </pc:sldMkLst>
        <pc:spChg chg="mod">
          <ac:chgData name="Vincent Kharsyad [Chillibreeze]" userId="7b5f9e7a-8cb6-4e11-ad75-0918041740fe" providerId="ADAL" clId="{9D6E1852-5810-4B53-BDF5-FE17275CA0ED}" dt="2020-07-13T11:19:46.637" v="767" actId="14100"/>
          <ac:spMkLst>
            <pc:docMk/>
            <pc:sldMk cId="397689141" sldId="1947"/>
            <ac:spMk id="4" creationId="{FD483274-C30B-45CD-B638-369AC843DEF0}"/>
          </ac:spMkLst>
        </pc:spChg>
      </pc:sldChg>
      <pc:sldChg chg="addSp delSp modSp mod">
        <pc:chgData name="Vincent Kharsyad [Chillibreeze]" userId="7b5f9e7a-8cb6-4e11-ad75-0918041740fe" providerId="ADAL" clId="{9D6E1852-5810-4B53-BDF5-FE17275CA0ED}" dt="2020-07-13T07:01:44.412" v="285" actId="478"/>
        <pc:sldMkLst>
          <pc:docMk/>
          <pc:sldMk cId="1024414060" sldId="1949"/>
        </pc:sldMkLst>
        <pc:spChg chg="mod">
          <ac:chgData name="Vincent Kharsyad [Chillibreeze]" userId="7b5f9e7a-8cb6-4e11-ad75-0918041740fe" providerId="ADAL" clId="{9D6E1852-5810-4B53-BDF5-FE17275CA0ED}" dt="2020-07-13T04:57:45.238" v="93" actId="20577"/>
          <ac:spMkLst>
            <pc:docMk/>
            <pc:sldMk cId="1024414060" sldId="1949"/>
            <ac:spMk id="4" creationId="{0CD8665D-5A50-4F07-9D33-48CCD3FD74C7}"/>
          </ac:spMkLst>
        </pc:spChg>
        <pc:spChg chg="add del mod ord">
          <ac:chgData name="Vincent Kharsyad [Chillibreeze]" userId="7b5f9e7a-8cb6-4e11-ad75-0918041740fe" providerId="ADAL" clId="{9D6E1852-5810-4B53-BDF5-FE17275CA0ED}" dt="2020-07-13T07:01:44.412" v="285" actId="478"/>
          <ac:spMkLst>
            <pc:docMk/>
            <pc:sldMk cId="1024414060" sldId="1949"/>
            <ac:spMk id="5" creationId="{DDBA1998-8EBA-4AB4-9D61-C2E72F7D9222}"/>
          </ac:spMkLst>
        </pc:spChg>
        <pc:picChg chg="mod">
          <ac:chgData name="Vincent Kharsyad [Chillibreeze]" userId="7b5f9e7a-8cb6-4e11-ad75-0918041740fe" providerId="ADAL" clId="{9D6E1852-5810-4B53-BDF5-FE17275CA0ED}" dt="2020-07-13T07:01:42.032" v="284" actId="12788"/>
          <ac:picMkLst>
            <pc:docMk/>
            <pc:sldMk cId="1024414060" sldId="1949"/>
            <ac:picMk id="3" creationId="{E8D55B3C-B03B-43C6-94C9-0A65D2B8E6A5}"/>
          </ac:picMkLst>
        </pc:picChg>
      </pc:sldChg>
      <pc:sldChg chg="addSp delSp modSp mod">
        <pc:chgData name="Vincent Kharsyad [Chillibreeze]" userId="7b5f9e7a-8cb6-4e11-ad75-0918041740fe" providerId="ADAL" clId="{9D6E1852-5810-4B53-BDF5-FE17275CA0ED}" dt="2020-07-13T11:22:44.070" v="802" actId="13244"/>
        <pc:sldMkLst>
          <pc:docMk/>
          <pc:sldMk cId="2334485022" sldId="1950"/>
        </pc:sldMkLst>
        <pc:spChg chg="mod">
          <ac:chgData name="Vincent Kharsyad [Chillibreeze]" userId="7b5f9e7a-8cb6-4e11-ad75-0918041740fe" providerId="ADAL" clId="{9D6E1852-5810-4B53-BDF5-FE17275CA0ED}" dt="2020-07-13T11:20:59.663" v="776" actId="552"/>
          <ac:spMkLst>
            <pc:docMk/>
            <pc:sldMk cId="2334485022" sldId="1950"/>
            <ac:spMk id="2" creationId="{5EE9844D-7543-4B89-A10F-D42A46F7CFF0}"/>
          </ac:spMkLst>
        </pc:spChg>
        <pc:spChg chg="mod">
          <ac:chgData name="Vincent Kharsyad [Chillibreeze]" userId="7b5f9e7a-8cb6-4e11-ad75-0918041740fe" providerId="ADAL" clId="{9D6E1852-5810-4B53-BDF5-FE17275CA0ED}" dt="2020-07-13T11:22:40.279" v="801" actId="13244"/>
          <ac:spMkLst>
            <pc:docMk/>
            <pc:sldMk cId="2334485022" sldId="1950"/>
            <ac:spMk id="44" creationId="{A6932B66-3911-43CD-BB70-13C6E830C9B9}"/>
          </ac:spMkLst>
        </pc:spChg>
        <pc:spChg chg="mod">
          <ac:chgData name="Vincent Kharsyad [Chillibreeze]" userId="7b5f9e7a-8cb6-4e11-ad75-0918041740fe" providerId="ADAL" clId="{9D6E1852-5810-4B53-BDF5-FE17275CA0ED}" dt="2020-07-13T11:20:30.072" v="768" actId="165"/>
          <ac:spMkLst>
            <pc:docMk/>
            <pc:sldMk cId="2334485022" sldId="1950"/>
            <ac:spMk id="64" creationId="{33FE5EB4-FCD9-4118-90BD-AB76A6464AD4}"/>
          </ac:spMkLst>
        </pc:spChg>
        <pc:spChg chg="mod">
          <ac:chgData name="Vincent Kharsyad [Chillibreeze]" userId="7b5f9e7a-8cb6-4e11-ad75-0918041740fe" providerId="ADAL" clId="{9D6E1852-5810-4B53-BDF5-FE17275CA0ED}" dt="2020-07-13T11:20:30.072" v="768" actId="165"/>
          <ac:spMkLst>
            <pc:docMk/>
            <pc:sldMk cId="2334485022" sldId="1950"/>
            <ac:spMk id="65" creationId="{D80C8530-85EB-4876-9A7C-C87FF18D8649}"/>
          </ac:spMkLst>
        </pc:spChg>
        <pc:spChg chg="mod">
          <ac:chgData name="Vincent Kharsyad [Chillibreeze]" userId="7b5f9e7a-8cb6-4e11-ad75-0918041740fe" providerId="ADAL" clId="{9D6E1852-5810-4B53-BDF5-FE17275CA0ED}" dt="2020-07-13T11:22:13.701" v="798" actId="554"/>
          <ac:spMkLst>
            <pc:docMk/>
            <pc:sldMk cId="2334485022" sldId="1950"/>
            <ac:spMk id="66" creationId="{AD3F0406-9A7B-4F25-8A95-D14D93FCE9ED}"/>
          </ac:spMkLst>
        </pc:spChg>
        <pc:spChg chg="mod">
          <ac:chgData name="Vincent Kharsyad [Chillibreeze]" userId="7b5f9e7a-8cb6-4e11-ad75-0918041740fe" providerId="ADAL" clId="{9D6E1852-5810-4B53-BDF5-FE17275CA0ED}" dt="2020-07-13T11:20:31.871" v="769" actId="165"/>
          <ac:spMkLst>
            <pc:docMk/>
            <pc:sldMk cId="2334485022" sldId="1950"/>
            <ac:spMk id="70" creationId="{F373240A-92A3-481C-BEF4-AF9F63EC2B84}"/>
          </ac:spMkLst>
        </pc:spChg>
        <pc:spChg chg="mod">
          <ac:chgData name="Vincent Kharsyad [Chillibreeze]" userId="7b5f9e7a-8cb6-4e11-ad75-0918041740fe" providerId="ADAL" clId="{9D6E1852-5810-4B53-BDF5-FE17275CA0ED}" dt="2020-07-13T11:20:31.871" v="769" actId="165"/>
          <ac:spMkLst>
            <pc:docMk/>
            <pc:sldMk cId="2334485022" sldId="1950"/>
            <ac:spMk id="71" creationId="{CF1B63FB-B5CE-4254-A038-AE9DC0C4CEE6}"/>
          </ac:spMkLst>
        </pc:spChg>
        <pc:grpChg chg="add del mod">
          <ac:chgData name="Vincent Kharsyad [Chillibreeze]" userId="7b5f9e7a-8cb6-4e11-ad75-0918041740fe" providerId="ADAL" clId="{9D6E1852-5810-4B53-BDF5-FE17275CA0ED}" dt="2020-07-13T11:20:31.871" v="769" actId="165"/>
          <ac:grpSpMkLst>
            <pc:docMk/>
            <pc:sldMk cId="2334485022" sldId="1950"/>
            <ac:grpSpMk id="3" creationId="{0F3EB1DA-AF7D-4D6A-BA8E-7AEE5BE7CC37}"/>
          </ac:grpSpMkLst>
        </pc:grpChg>
        <pc:grpChg chg="add del mod">
          <ac:chgData name="Vincent Kharsyad [Chillibreeze]" userId="7b5f9e7a-8cb6-4e11-ad75-0918041740fe" providerId="ADAL" clId="{9D6E1852-5810-4B53-BDF5-FE17275CA0ED}" dt="2020-07-13T11:20:30.072" v="768" actId="165"/>
          <ac:grpSpMkLst>
            <pc:docMk/>
            <pc:sldMk cId="2334485022" sldId="1950"/>
            <ac:grpSpMk id="4" creationId="{8A2FF6CA-EE9B-47CF-9062-02DE37BF8668}"/>
          </ac:grpSpMkLst>
        </pc:grpChg>
        <pc:grpChg chg="add del mod">
          <ac:chgData name="Vincent Kharsyad [Chillibreeze]" userId="7b5f9e7a-8cb6-4e11-ad75-0918041740fe" providerId="ADAL" clId="{9D6E1852-5810-4B53-BDF5-FE17275CA0ED}" dt="2020-07-13T11:20:46.376" v="773" actId="21"/>
          <ac:grpSpMkLst>
            <pc:docMk/>
            <pc:sldMk cId="2334485022" sldId="1950"/>
            <ac:grpSpMk id="5" creationId="{AF4C8F92-929A-4B3F-BEF9-7DF74404F1FE}"/>
          </ac:grpSpMkLst>
        </pc:grpChg>
        <pc:grpChg chg="add del mod">
          <ac:chgData name="Vincent Kharsyad [Chillibreeze]" userId="7b5f9e7a-8cb6-4e11-ad75-0918041740fe" providerId="ADAL" clId="{9D6E1852-5810-4B53-BDF5-FE17275CA0ED}" dt="2020-07-13T11:21:14.136" v="780" actId="21"/>
          <ac:grpSpMkLst>
            <pc:docMk/>
            <pc:sldMk cId="2334485022" sldId="1950"/>
            <ac:grpSpMk id="6" creationId="{6A989550-BCD6-44C8-8C4D-71AA5571D858}"/>
          </ac:grpSpMkLst>
        </pc:grpChg>
        <pc:grpChg chg="del mod">
          <ac:chgData name="Vincent Kharsyad [Chillibreeze]" userId="7b5f9e7a-8cb6-4e11-ad75-0918041740fe" providerId="ADAL" clId="{9D6E1852-5810-4B53-BDF5-FE17275CA0ED}" dt="2020-07-13T07:07:42.171" v="323" actId="165"/>
          <ac:grpSpMkLst>
            <pc:docMk/>
            <pc:sldMk cId="2334485022" sldId="1950"/>
            <ac:grpSpMk id="50" creationId="{34BDD148-5E63-4962-9E09-457C7BAF9A26}"/>
          </ac:grpSpMkLst>
        </pc:grpChg>
        <pc:grpChg chg="mod topLvl">
          <ac:chgData name="Vincent Kharsyad [Chillibreeze]" userId="7b5f9e7a-8cb6-4e11-ad75-0918041740fe" providerId="ADAL" clId="{9D6E1852-5810-4B53-BDF5-FE17275CA0ED}" dt="2020-07-13T11:20:41.008" v="771" actId="164"/>
          <ac:grpSpMkLst>
            <pc:docMk/>
            <pc:sldMk cId="2334485022" sldId="1950"/>
            <ac:grpSpMk id="56" creationId="{FE96654D-A722-4839-A09B-5D2E43E1DB27}"/>
          </ac:grpSpMkLst>
        </pc:grpChg>
        <pc:grpChg chg="del mod">
          <ac:chgData name="Vincent Kharsyad [Chillibreeze]" userId="7b5f9e7a-8cb6-4e11-ad75-0918041740fe" providerId="ADAL" clId="{9D6E1852-5810-4B53-BDF5-FE17275CA0ED}" dt="2020-07-13T06:06:38.844" v="251" actId="165"/>
          <ac:grpSpMkLst>
            <pc:docMk/>
            <pc:sldMk cId="2334485022" sldId="1950"/>
            <ac:grpSpMk id="67" creationId="{49E328EC-09EF-48BF-947A-5B0F4DDE5D16}"/>
          </ac:grpSpMkLst>
        </pc:grpChg>
        <pc:grpChg chg="mod topLvl">
          <ac:chgData name="Vincent Kharsyad [Chillibreeze]" userId="7b5f9e7a-8cb6-4e11-ad75-0918041740fe" providerId="ADAL" clId="{9D6E1852-5810-4B53-BDF5-FE17275CA0ED}" dt="2020-07-13T11:20:42.673" v="772" actId="164"/>
          <ac:grpSpMkLst>
            <pc:docMk/>
            <pc:sldMk cId="2334485022" sldId="1950"/>
            <ac:grpSpMk id="68" creationId="{02C5ACA4-83AC-4B6C-A299-9BD57E4D4A31}"/>
          </ac:grpSpMkLst>
        </pc:grpChg>
        <pc:picChg chg="mod">
          <ac:chgData name="Vincent Kharsyad [Chillibreeze]" userId="7b5f9e7a-8cb6-4e11-ad75-0918041740fe" providerId="ADAL" clId="{9D6E1852-5810-4B53-BDF5-FE17275CA0ED}" dt="2020-07-13T11:22:34.446" v="800" actId="13244"/>
          <ac:picMkLst>
            <pc:docMk/>
            <pc:sldMk cId="2334485022" sldId="1950"/>
            <ac:picMk id="7" creationId="{017F32E6-DADD-4E15-B6F7-F552F843F3ED}"/>
          </ac:picMkLst>
        </pc:picChg>
        <pc:picChg chg="mod">
          <ac:chgData name="Vincent Kharsyad [Chillibreeze]" userId="7b5f9e7a-8cb6-4e11-ad75-0918041740fe" providerId="ADAL" clId="{9D6E1852-5810-4B53-BDF5-FE17275CA0ED}" dt="2020-07-13T11:22:44.070" v="802" actId="13244"/>
          <ac:picMkLst>
            <pc:docMk/>
            <pc:sldMk cId="2334485022" sldId="1950"/>
            <ac:picMk id="8" creationId="{B00A6087-8C37-46CA-ADC9-DF73D8B175F3}"/>
          </ac:picMkLst>
        </pc:picChg>
        <pc:picChg chg="add del mod">
          <ac:chgData name="Vincent Kharsyad [Chillibreeze]" userId="7b5f9e7a-8cb6-4e11-ad75-0918041740fe" providerId="ADAL" clId="{9D6E1852-5810-4B53-BDF5-FE17275CA0ED}" dt="2020-07-13T11:21:48.905" v="790" actId="478"/>
          <ac:picMkLst>
            <pc:docMk/>
            <pc:sldMk cId="2334485022" sldId="1950"/>
            <ac:picMk id="16" creationId="{6E7DDEB1-7A65-4AB8-9863-284D9977F338}"/>
          </ac:picMkLst>
        </pc:picChg>
        <pc:picChg chg="add mod topLvl">
          <ac:chgData name="Vincent Kharsyad [Chillibreeze]" userId="7b5f9e7a-8cb6-4e11-ad75-0918041740fe" providerId="ADAL" clId="{9D6E1852-5810-4B53-BDF5-FE17275CA0ED}" dt="2020-07-13T11:20:41.008" v="771" actId="164"/>
          <ac:picMkLst>
            <pc:docMk/>
            <pc:sldMk cId="2334485022" sldId="1950"/>
            <ac:picMk id="17" creationId="{51940047-2CE2-40B9-B72C-DFB68E78DFD7}"/>
          </ac:picMkLst>
        </pc:picChg>
        <pc:picChg chg="add del mod">
          <ac:chgData name="Vincent Kharsyad [Chillibreeze]" userId="7b5f9e7a-8cb6-4e11-ad75-0918041740fe" providerId="ADAL" clId="{9D6E1852-5810-4B53-BDF5-FE17275CA0ED}" dt="2020-07-13T11:21:49.638" v="791" actId="478"/>
          <ac:picMkLst>
            <pc:docMk/>
            <pc:sldMk cId="2334485022" sldId="1950"/>
            <ac:picMk id="18" creationId="{D20C99B7-1EB0-4991-A0D9-BF337A4882AB}"/>
          </ac:picMkLst>
        </pc:picChg>
        <pc:picChg chg="del mod topLvl">
          <ac:chgData name="Vincent Kharsyad [Chillibreeze]" userId="7b5f9e7a-8cb6-4e11-ad75-0918041740fe" providerId="ADAL" clId="{9D6E1852-5810-4B53-BDF5-FE17275CA0ED}" dt="2020-07-13T07:07:44.605" v="324" actId="478"/>
          <ac:picMkLst>
            <pc:docMk/>
            <pc:sldMk cId="2334485022" sldId="1950"/>
            <ac:picMk id="62" creationId="{1E4B9BED-EC77-444E-AA72-3433D600E6F3}"/>
          </ac:picMkLst>
        </pc:picChg>
        <pc:picChg chg="mod topLvl">
          <ac:chgData name="Vincent Kharsyad [Chillibreeze]" userId="7b5f9e7a-8cb6-4e11-ad75-0918041740fe" providerId="ADAL" clId="{9D6E1852-5810-4B53-BDF5-FE17275CA0ED}" dt="2020-07-13T11:20:42.673" v="772" actId="164"/>
          <ac:picMkLst>
            <pc:docMk/>
            <pc:sldMk cId="2334485022" sldId="1950"/>
            <ac:picMk id="69" creationId="{5BF2C27A-23FC-48A5-BFB1-11609FD1BFBB}"/>
          </ac:picMkLst>
        </pc:picChg>
        <pc:cxnChg chg="mod">
          <ac:chgData name="Vincent Kharsyad [Chillibreeze]" userId="7b5f9e7a-8cb6-4e11-ad75-0918041740fe" providerId="ADAL" clId="{9D6E1852-5810-4B53-BDF5-FE17275CA0ED}" dt="2020-07-13T11:22:18.487" v="799" actId="465"/>
          <ac:cxnSpMkLst>
            <pc:docMk/>
            <pc:sldMk cId="2334485022" sldId="1950"/>
            <ac:cxnSpMk id="39" creationId="{EEF31729-A47D-4460-B5FF-28C9E0DE0B6D}"/>
          </ac:cxnSpMkLst>
        </pc:cxnChg>
      </pc:sldChg>
      <pc:sldChg chg="addSp delSp modSp mod">
        <pc:chgData name="Vincent Kharsyad [Chillibreeze]" userId="7b5f9e7a-8cb6-4e11-ad75-0918041740fe" providerId="ADAL" clId="{9D6E1852-5810-4B53-BDF5-FE17275CA0ED}" dt="2020-07-13T11:59:32.562" v="1188" actId="478"/>
        <pc:sldMkLst>
          <pc:docMk/>
          <pc:sldMk cId="59849674" sldId="1951"/>
        </pc:sldMkLst>
        <pc:spChg chg="mod">
          <ac:chgData name="Vincent Kharsyad [Chillibreeze]" userId="7b5f9e7a-8cb6-4e11-ad75-0918041740fe" providerId="ADAL" clId="{9D6E1852-5810-4B53-BDF5-FE17275CA0ED}" dt="2020-07-13T04:58:02.358" v="95"/>
          <ac:spMkLst>
            <pc:docMk/>
            <pc:sldMk cId="59849674" sldId="1951"/>
            <ac:spMk id="2" creationId="{567112AF-7AE2-4197-9F38-40C40BC380CE}"/>
          </ac:spMkLst>
        </pc:spChg>
        <pc:spChg chg="add mod ord">
          <ac:chgData name="Vincent Kharsyad [Chillibreeze]" userId="7b5f9e7a-8cb6-4e11-ad75-0918041740fe" providerId="ADAL" clId="{9D6E1852-5810-4B53-BDF5-FE17275CA0ED}" dt="2020-07-13T11:59:24.664" v="1187"/>
          <ac:spMkLst>
            <pc:docMk/>
            <pc:sldMk cId="59849674" sldId="1951"/>
            <ac:spMk id="3" creationId="{3EDF0A99-4084-43DC-8900-4FB8639AA70B}"/>
          </ac:spMkLst>
        </pc:spChg>
        <pc:spChg chg="del mod">
          <ac:chgData name="Vincent Kharsyad [Chillibreeze]" userId="7b5f9e7a-8cb6-4e11-ad75-0918041740fe" providerId="ADAL" clId="{9D6E1852-5810-4B53-BDF5-FE17275CA0ED}" dt="2020-07-13T11:59:32.562" v="1188" actId="478"/>
          <ac:spMkLst>
            <pc:docMk/>
            <pc:sldMk cId="59849674" sldId="1951"/>
            <ac:spMk id="6" creationId="{D03A2220-2B41-4369-90C1-31A9D4569E14}"/>
          </ac:spMkLst>
        </pc:spChg>
      </pc:sldChg>
      <pc:sldChg chg="addSp delSp modSp mod">
        <pc:chgData name="Vincent Kharsyad [Chillibreeze]" userId="7b5f9e7a-8cb6-4e11-ad75-0918041740fe" providerId="ADAL" clId="{9D6E1852-5810-4B53-BDF5-FE17275CA0ED}" dt="2020-07-13T11:43:32.955" v="1074" actId="20577"/>
        <pc:sldMkLst>
          <pc:docMk/>
          <pc:sldMk cId="3981396567" sldId="1952"/>
        </pc:sldMkLst>
        <pc:spChg chg="mod">
          <ac:chgData name="Vincent Kharsyad [Chillibreeze]" userId="7b5f9e7a-8cb6-4e11-ad75-0918041740fe" providerId="ADAL" clId="{9D6E1852-5810-4B53-BDF5-FE17275CA0ED}" dt="2020-07-13T11:23:48.280" v="813" actId="552"/>
          <ac:spMkLst>
            <pc:docMk/>
            <pc:sldMk cId="3981396567" sldId="1952"/>
            <ac:spMk id="2" creationId="{D0C9A83E-5AFF-4387-92E5-0F955CEA14F7}"/>
          </ac:spMkLst>
        </pc:spChg>
        <pc:spChg chg="mod">
          <ac:chgData name="Vincent Kharsyad [Chillibreeze]" userId="7b5f9e7a-8cb6-4e11-ad75-0918041740fe" providerId="ADAL" clId="{9D6E1852-5810-4B53-BDF5-FE17275CA0ED}" dt="2020-07-13T11:26:31.967" v="867" actId="552"/>
          <ac:spMkLst>
            <pc:docMk/>
            <pc:sldMk cId="3981396567" sldId="1952"/>
            <ac:spMk id="4" creationId="{A234402E-FD7C-4242-85EA-6ACAE732E2FD}"/>
          </ac:spMkLst>
        </pc:spChg>
        <pc:spChg chg="mod">
          <ac:chgData name="Vincent Kharsyad [Chillibreeze]" userId="7b5f9e7a-8cb6-4e11-ad75-0918041740fe" providerId="ADAL" clId="{9D6E1852-5810-4B53-BDF5-FE17275CA0ED}" dt="2020-07-13T11:27:23.727" v="880" actId="13244"/>
          <ac:spMkLst>
            <pc:docMk/>
            <pc:sldMk cId="3981396567" sldId="1952"/>
            <ac:spMk id="5" creationId="{E5F7B95A-E382-451C-9D99-7C949FF25D44}"/>
          </ac:spMkLst>
        </pc:spChg>
        <pc:spChg chg="mod">
          <ac:chgData name="Vincent Kharsyad [Chillibreeze]" userId="7b5f9e7a-8cb6-4e11-ad75-0918041740fe" providerId="ADAL" clId="{9D6E1852-5810-4B53-BDF5-FE17275CA0ED}" dt="2020-07-13T11:26:31.967" v="867" actId="552"/>
          <ac:spMkLst>
            <pc:docMk/>
            <pc:sldMk cId="3981396567" sldId="1952"/>
            <ac:spMk id="6" creationId="{3C5F2AF5-E8F7-45BC-BF9D-59CA72BCEEED}"/>
          </ac:spMkLst>
        </pc:spChg>
        <pc:spChg chg="mod">
          <ac:chgData name="Vincent Kharsyad [Chillibreeze]" userId="7b5f9e7a-8cb6-4e11-ad75-0918041740fe" providerId="ADAL" clId="{9D6E1852-5810-4B53-BDF5-FE17275CA0ED}" dt="2020-07-13T11:43:32.955" v="1074" actId="20577"/>
          <ac:spMkLst>
            <pc:docMk/>
            <pc:sldMk cId="3981396567" sldId="1952"/>
            <ac:spMk id="7" creationId="{65DC0EC4-A80B-4D6F-8CAA-1A5F3AC8C3E5}"/>
          </ac:spMkLst>
        </pc:spChg>
        <pc:spChg chg="mod">
          <ac:chgData name="Vincent Kharsyad [Chillibreeze]" userId="7b5f9e7a-8cb6-4e11-ad75-0918041740fe" providerId="ADAL" clId="{9D6E1852-5810-4B53-BDF5-FE17275CA0ED}" dt="2020-07-13T11:28:16.741" v="888" actId="20577"/>
          <ac:spMkLst>
            <pc:docMk/>
            <pc:sldMk cId="3981396567" sldId="1952"/>
            <ac:spMk id="8" creationId="{EFB2E42B-54CC-421B-93D2-35157FE21B23}"/>
          </ac:spMkLst>
        </pc:spChg>
        <pc:spChg chg="mod">
          <ac:chgData name="Vincent Kharsyad [Chillibreeze]" userId="7b5f9e7a-8cb6-4e11-ad75-0918041740fe" providerId="ADAL" clId="{9D6E1852-5810-4B53-BDF5-FE17275CA0ED}" dt="2020-07-13T11:23:01.309" v="803" actId="165"/>
          <ac:spMkLst>
            <pc:docMk/>
            <pc:sldMk cId="3981396567" sldId="1952"/>
            <ac:spMk id="12" creationId="{C97257B4-6304-48BF-9C76-EDE83CB9F9BD}"/>
          </ac:spMkLst>
        </pc:spChg>
        <pc:spChg chg="mod">
          <ac:chgData name="Vincent Kharsyad [Chillibreeze]" userId="7b5f9e7a-8cb6-4e11-ad75-0918041740fe" providerId="ADAL" clId="{9D6E1852-5810-4B53-BDF5-FE17275CA0ED}" dt="2020-07-13T11:23:01.309" v="803" actId="165"/>
          <ac:spMkLst>
            <pc:docMk/>
            <pc:sldMk cId="3981396567" sldId="1952"/>
            <ac:spMk id="13" creationId="{4493060A-B2BC-43A7-B427-8A149854C39C}"/>
          </ac:spMkLst>
        </pc:spChg>
        <pc:spChg chg="mod">
          <ac:chgData name="Vincent Kharsyad [Chillibreeze]" userId="7b5f9e7a-8cb6-4e11-ad75-0918041740fe" providerId="ADAL" clId="{9D6E1852-5810-4B53-BDF5-FE17275CA0ED}" dt="2020-07-13T11:23:01.309" v="803" actId="165"/>
          <ac:spMkLst>
            <pc:docMk/>
            <pc:sldMk cId="3981396567" sldId="1952"/>
            <ac:spMk id="17" creationId="{247C6196-608A-4CA5-9141-1A7DC320B056}"/>
          </ac:spMkLst>
        </pc:spChg>
        <pc:spChg chg="mod">
          <ac:chgData name="Vincent Kharsyad [Chillibreeze]" userId="7b5f9e7a-8cb6-4e11-ad75-0918041740fe" providerId="ADAL" clId="{9D6E1852-5810-4B53-BDF5-FE17275CA0ED}" dt="2020-07-13T11:23:01.309" v="803" actId="165"/>
          <ac:spMkLst>
            <pc:docMk/>
            <pc:sldMk cId="3981396567" sldId="1952"/>
            <ac:spMk id="18" creationId="{0A7FBEFC-5CE4-4BA7-B5BA-97F8AF101568}"/>
          </ac:spMkLst>
        </pc:spChg>
        <pc:spChg chg="mod">
          <ac:chgData name="Vincent Kharsyad [Chillibreeze]" userId="7b5f9e7a-8cb6-4e11-ad75-0918041740fe" providerId="ADAL" clId="{9D6E1852-5810-4B53-BDF5-FE17275CA0ED}" dt="2020-07-13T11:23:01.309" v="803" actId="165"/>
          <ac:spMkLst>
            <pc:docMk/>
            <pc:sldMk cId="3981396567" sldId="1952"/>
            <ac:spMk id="22" creationId="{CEB24451-4E0E-4C46-B693-A5BBFD975A3A}"/>
          </ac:spMkLst>
        </pc:spChg>
        <pc:spChg chg="mod">
          <ac:chgData name="Vincent Kharsyad [Chillibreeze]" userId="7b5f9e7a-8cb6-4e11-ad75-0918041740fe" providerId="ADAL" clId="{9D6E1852-5810-4B53-BDF5-FE17275CA0ED}" dt="2020-07-13T11:23:01.309" v="803" actId="165"/>
          <ac:spMkLst>
            <pc:docMk/>
            <pc:sldMk cId="3981396567" sldId="1952"/>
            <ac:spMk id="23" creationId="{FAC025B3-79E3-450B-A5C7-6E055F5E1D4D}"/>
          </ac:spMkLst>
        </pc:spChg>
        <pc:spChg chg="mod">
          <ac:chgData name="Vincent Kharsyad [Chillibreeze]" userId="7b5f9e7a-8cb6-4e11-ad75-0918041740fe" providerId="ADAL" clId="{9D6E1852-5810-4B53-BDF5-FE17275CA0ED}" dt="2020-07-13T11:23:01.309" v="803" actId="165"/>
          <ac:spMkLst>
            <pc:docMk/>
            <pc:sldMk cId="3981396567" sldId="1952"/>
            <ac:spMk id="27" creationId="{11584AF5-DFEE-43E6-B363-BE20E5649720}"/>
          </ac:spMkLst>
        </pc:spChg>
        <pc:spChg chg="mod">
          <ac:chgData name="Vincent Kharsyad [Chillibreeze]" userId="7b5f9e7a-8cb6-4e11-ad75-0918041740fe" providerId="ADAL" clId="{9D6E1852-5810-4B53-BDF5-FE17275CA0ED}" dt="2020-07-13T11:23:01.309" v="803" actId="165"/>
          <ac:spMkLst>
            <pc:docMk/>
            <pc:sldMk cId="3981396567" sldId="1952"/>
            <ac:spMk id="28" creationId="{69C79433-D1FA-44AD-9A4E-C6562C51AE19}"/>
          </ac:spMkLst>
        </pc:spChg>
        <pc:spChg chg="mod">
          <ac:chgData name="Vincent Kharsyad [Chillibreeze]" userId="7b5f9e7a-8cb6-4e11-ad75-0918041740fe" providerId="ADAL" clId="{9D6E1852-5810-4B53-BDF5-FE17275CA0ED}" dt="2020-07-13T11:23:01.309" v="803" actId="165"/>
          <ac:spMkLst>
            <pc:docMk/>
            <pc:sldMk cId="3981396567" sldId="1952"/>
            <ac:spMk id="32" creationId="{CA085072-C9A0-401C-B78F-6351C85FBCE6}"/>
          </ac:spMkLst>
        </pc:spChg>
        <pc:spChg chg="mod">
          <ac:chgData name="Vincent Kharsyad [Chillibreeze]" userId="7b5f9e7a-8cb6-4e11-ad75-0918041740fe" providerId="ADAL" clId="{9D6E1852-5810-4B53-BDF5-FE17275CA0ED}" dt="2020-07-13T11:23:01.309" v="803" actId="165"/>
          <ac:spMkLst>
            <pc:docMk/>
            <pc:sldMk cId="3981396567" sldId="1952"/>
            <ac:spMk id="33" creationId="{1CC52223-30CF-49F7-A5B5-5F92ABF5F29F}"/>
          </ac:spMkLst>
        </pc:spChg>
        <pc:grpChg chg="add del mod">
          <ac:chgData name="Vincent Kharsyad [Chillibreeze]" userId="7b5f9e7a-8cb6-4e11-ad75-0918041740fe" providerId="ADAL" clId="{9D6E1852-5810-4B53-BDF5-FE17275CA0ED}" dt="2020-07-13T11:23:01.309" v="803" actId="165"/>
          <ac:grpSpMkLst>
            <pc:docMk/>
            <pc:sldMk cId="3981396567" sldId="1952"/>
            <ac:grpSpMk id="3" creationId="{E05FEC8B-6C2F-4397-9924-9F3C432A5B8A}"/>
          </ac:grpSpMkLst>
        </pc:grpChg>
        <pc:grpChg chg="mod topLvl">
          <ac:chgData name="Vincent Kharsyad [Chillibreeze]" userId="7b5f9e7a-8cb6-4e11-ad75-0918041740fe" providerId="ADAL" clId="{9D6E1852-5810-4B53-BDF5-FE17275CA0ED}" dt="2020-07-13T11:23:17.267" v="805" actId="164"/>
          <ac:grpSpMkLst>
            <pc:docMk/>
            <pc:sldMk cId="3981396567" sldId="1952"/>
            <ac:grpSpMk id="10" creationId="{DA9D9E8C-9ABD-4A46-97C1-74D8A7CC47A2}"/>
          </ac:grpSpMkLst>
        </pc:grpChg>
        <pc:grpChg chg="del">
          <ac:chgData name="Vincent Kharsyad [Chillibreeze]" userId="7b5f9e7a-8cb6-4e11-ad75-0918041740fe" providerId="ADAL" clId="{9D6E1852-5810-4B53-BDF5-FE17275CA0ED}" dt="2020-07-13T11:23:01.309" v="803" actId="165"/>
          <ac:grpSpMkLst>
            <pc:docMk/>
            <pc:sldMk cId="3981396567" sldId="1952"/>
            <ac:grpSpMk id="14" creationId="{D87375C2-6490-4BC5-B0CD-1243A84B9A74}"/>
          </ac:grpSpMkLst>
        </pc:grpChg>
        <pc:grpChg chg="mod topLvl">
          <ac:chgData name="Vincent Kharsyad [Chillibreeze]" userId="7b5f9e7a-8cb6-4e11-ad75-0918041740fe" providerId="ADAL" clId="{9D6E1852-5810-4B53-BDF5-FE17275CA0ED}" dt="2020-07-13T11:23:19.080" v="806" actId="164"/>
          <ac:grpSpMkLst>
            <pc:docMk/>
            <pc:sldMk cId="3981396567" sldId="1952"/>
            <ac:grpSpMk id="15" creationId="{6AC692D5-C2B2-442B-8480-029E87248F5C}"/>
          </ac:grpSpMkLst>
        </pc:grpChg>
        <pc:grpChg chg="del">
          <ac:chgData name="Vincent Kharsyad [Chillibreeze]" userId="7b5f9e7a-8cb6-4e11-ad75-0918041740fe" providerId="ADAL" clId="{9D6E1852-5810-4B53-BDF5-FE17275CA0ED}" dt="2020-07-13T11:23:01.309" v="803" actId="165"/>
          <ac:grpSpMkLst>
            <pc:docMk/>
            <pc:sldMk cId="3981396567" sldId="1952"/>
            <ac:grpSpMk id="16" creationId="{35FE73A8-AAC1-40CA-927F-93D3FF09CE41}"/>
          </ac:grpSpMkLst>
        </pc:grpChg>
        <pc:grpChg chg="del">
          <ac:chgData name="Vincent Kharsyad [Chillibreeze]" userId="7b5f9e7a-8cb6-4e11-ad75-0918041740fe" providerId="ADAL" clId="{9D6E1852-5810-4B53-BDF5-FE17275CA0ED}" dt="2020-07-13T06:10:06.162" v="267" actId="165"/>
          <ac:grpSpMkLst>
            <pc:docMk/>
            <pc:sldMk cId="3981396567" sldId="1952"/>
            <ac:grpSpMk id="19" creationId="{56536D4E-F5B8-42ED-ABD1-D1854A446808}"/>
          </ac:grpSpMkLst>
        </pc:grpChg>
        <pc:grpChg chg="add del mod">
          <ac:chgData name="Vincent Kharsyad [Chillibreeze]" userId="7b5f9e7a-8cb6-4e11-ad75-0918041740fe" providerId="ADAL" clId="{9D6E1852-5810-4B53-BDF5-FE17275CA0ED}" dt="2020-07-13T11:23:25.847" v="810" actId="21"/>
          <ac:grpSpMkLst>
            <pc:docMk/>
            <pc:sldMk cId="3981396567" sldId="1952"/>
            <ac:grpSpMk id="19" creationId="{C57DA963-9FE4-4098-95AB-B9D5C3351068}"/>
          </ac:grpSpMkLst>
        </pc:grpChg>
        <pc:grpChg chg="mod topLvl">
          <ac:chgData name="Vincent Kharsyad [Chillibreeze]" userId="7b5f9e7a-8cb6-4e11-ad75-0918041740fe" providerId="ADAL" clId="{9D6E1852-5810-4B53-BDF5-FE17275CA0ED}" dt="2020-07-13T11:23:21.435" v="808" actId="164"/>
          <ac:grpSpMkLst>
            <pc:docMk/>
            <pc:sldMk cId="3981396567" sldId="1952"/>
            <ac:grpSpMk id="20" creationId="{29AAB344-C3DA-43E7-8E3A-B5526C6EB729}"/>
          </ac:grpSpMkLst>
        </pc:grpChg>
        <pc:grpChg chg="del">
          <ac:chgData name="Vincent Kharsyad [Chillibreeze]" userId="7b5f9e7a-8cb6-4e11-ad75-0918041740fe" providerId="ADAL" clId="{9D6E1852-5810-4B53-BDF5-FE17275CA0ED}" dt="2020-07-13T11:23:01.309" v="803" actId="165"/>
          <ac:grpSpMkLst>
            <pc:docMk/>
            <pc:sldMk cId="3981396567" sldId="1952"/>
            <ac:grpSpMk id="21" creationId="{AEA1FC73-4E8B-431B-B2EB-1ED77C35841C}"/>
          </ac:grpSpMkLst>
        </pc:grpChg>
        <pc:grpChg chg="add del mod">
          <ac:chgData name="Vincent Kharsyad [Chillibreeze]" userId="7b5f9e7a-8cb6-4e11-ad75-0918041740fe" providerId="ADAL" clId="{9D6E1852-5810-4B53-BDF5-FE17275CA0ED}" dt="2020-07-13T11:24:15.400" v="828" actId="21"/>
          <ac:grpSpMkLst>
            <pc:docMk/>
            <pc:sldMk cId="3981396567" sldId="1952"/>
            <ac:grpSpMk id="24" creationId="{FD3B115F-1E3D-42A5-AAEF-F1CF60D2F176}"/>
          </ac:grpSpMkLst>
        </pc:grpChg>
        <pc:grpChg chg="mod topLvl">
          <ac:chgData name="Vincent Kharsyad [Chillibreeze]" userId="7b5f9e7a-8cb6-4e11-ad75-0918041740fe" providerId="ADAL" clId="{9D6E1852-5810-4B53-BDF5-FE17275CA0ED}" dt="2020-07-13T11:23:20.228" v="807" actId="164"/>
          <ac:grpSpMkLst>
            <pc:docMk/>
            <pc:sldMk cId="3981396567" sldId="1952"/>
            <ac:grpSpMk id="25" creationId="{AB05AFCE-9FAC-47C2-B924-AC98FD5F9E3E}"/>
          </ac:grpSpMkLst>
        </pc:grpChg>
        <pc:grpChg chg="add del mod">
          <ac:chgData name="Vincent Kharsyad [Chillibreeze]" userId="7b5f9e7a-8cb6-4e11-ad75-0918041740fe" providerId="ADAL" clId="{9D6E1852-5810-4B53-BDF5-FE17275CA0ED}" dt="2020-07-13T11:24:47.740" v="835" actId="21"/>
          <ac:grpSpMkLst>
            <pc:docMk/>
            <pc:sldMk cId="3981396567" sldId="1952"/>
            <ac:grpSpMk id="26" creationId="{769E0766-7A3A-46D3-942D-FA285542D4C4}"/>
          </ac:grpSpMkLst>
        </pc:grpChg>
        <pc:grpChg chg="add del mod">
          <ac:chgData name="Vincent Kharsyad [Chillibreeze]" userId="7b5f9e7a-8cb6-4e11-ad75-0918041740fe" providerId="ADAL" clId="{9D6E1852-5810-4B53-BDF5-FE17275CA0ED}" dt="2020-07-13T11:25:01.343" v="839" actId="21"/>
          <ac:grpSpMkLst>
            <pc:docMk/>
            <pc:sldMk cId="3981396567" sldId="1952"/>
            <ac:grpSpMk id="29" creationId="{5B09CE26-C33F-4210-9718-6309750C4930}"/>
          </ac:grpSpMkLst>
        </pc:grpChg>
        <pc:grpChg chg="mod topLvl">
          <ac:chgData name="Vincent Kharsyad [Chillibreeze]" userId="7b5f9e7a-8cb6-4e11-ad75-0918041740fe" providerId="ADAL" clId="{9D6E1852-5810-4B53-BDF5-FE17275CA0ED}" dt="2020-07-13T11:23:22.584" v="809" actId="164"/>
          <ac:grpSpMkLst>
            <pc:docMk/>
            <pc:sldMk cId="3981396567" sldId="1952"/>
            <ac:grpSpMk id="30" creationId="{9FD7A5F0-DEAD-4D32-98C3-367AF49B811F}"/>
          </ac:grpSpMkLst>
        </pc:grpChg>
        <pc:grpChg chg="add del mod">
          <ac:chgData name="Vincent Kharsyad [Chillibreeze]" userId="7b5f9e7a-8cb6-4e11-ad75-0918041740fe" providerId="ADAL" clId="{9D6E1852-5810-4B53-BDF5-FE17275CA0ED}" dt="2020-07-13T11:25:16.941" v="843" actId="21"/>
          <ac:grpSpMkLst>
            <pc:docMk/>
            <pc:sldMk cId="3981396567" sldId="1952"/>
            <ac:grpSpMk id="31" creationId="{DA3E5136-3866-4F92-95F6-2832EB78A2AD}"/>
          </ac:grpSpMkLst>
        </pc:grpChg>
        <pc:grpChg chg="del">
          <ac:chgData name="Vincent Kharsyad [Chillibreeze]" userId="7b5f9e7a-8cb6-4e11-ad75-0918041740fe" providerId="ADAL" clId="{9D6E1852-5810-4B53-BDF5-FE17275CA0ED}" dt="2020-07-13T11:23:01.309" v="803" actId="165"/>
          <ac:grpSpMkLst>
            <pc:docMk/>
            <pc:sldMk cId="3981396567" sldId="1952"/>
            <ac:grpSpMk id="45" creationId="{C057EA8A-2831-4DF7-BF12-F59F866119BA}"/>
          </ac:grpSpMkLst>
        </pc:grpChg>
        <pc:picChg chg="mod topLvl">
          <ac:chgData name="Vincent Kharsyad [Chillibreeze]" userId="7b5f9e7a-8cb6-4e11-ad75-0918041740fe" providerId="ADAL" clId="{9D6E1852-5810-4B53-BDF5-FE17275CA0ED}" dt="2020-07-13T11:23:17.267" v="805" actId="164"/>
          <ac:picMkLst>
            <pc:docMk/>
            <pc:sldMk cId="3981396567" sldId="1952"/>
            <ac:picMk id="9" creationId="{A344540A-CB40-40AA-A622-9607494E3DDA}"/>
          </ac:picMkLst>
        </pc:picChg>
        <pc:picChg chg="mod topLvl">
          <ac:chgData name="Vincent Kharsyad [Chillibreeze]" userId="7b5f9e7a-8cb6-4e11-ad75-0918041740fe" providerId="ADAL" clId="{9D6E1852-5810-4B53-BDF5-FE17275CA0ED}" dt="2020-07-13T11:23:21.435" v="808" actId="164"/>
          <ac:picMkLst>
            <pc:docMk/>
            <pc:sldMk cId="3981396567" sldId="1952"/>
            <ac:picMk id="11" creationId="{D357E193-CB4A-456F-A1B2-115829A44C05}"/>
          </ac:picMkLst>
        </pc:picChg>
        <pc:picChg chg="add del mod">
          <ac:chgData name="Vincent Kharsyad [Chillibreeze]" userId="7b5f9e7a-8cb6-4e11-ad75-0918041740fe" providerId="ADAL" clId="{9D6E1852-5810-4B53-BDF5-FE17275CA0ED}" dt="2020-07-13T11:27:09.407" v="878" actId="478"/>
          <ac:picMkLst>
            <pc:docMk/>
            <pc:sldMk cId="3981396567" sldId="1952"/>
            <ac:picMk id="34" creationId="{0A8A1DAE-CBC7-40FA-BA9F-B39B2BFDD7E0}"/>
          </ac:picMkLst>
        </pc:picChg>
        <pc:picChg chg="add del mod">
          <ac:chgData name="Vincent Kharsyad [Chillibreeze]" userId="7b5f9e7a-8cb6-4e11-ad75-0918041740fe" providerId="ADAL" clId="{9D6E1852-5810-4B53-BDF5-FE17275CA0ED}" dt="2020-07-13T11:27:09.407" v="878" actId="478"/>
          <ac:picMkLst>
            <pc:docMk/>
            <pc:sldMk cId="3981396567" sldId="1952"/>
            <ac:picMk id="35" creationId="{A157224E-4964-4179-A53E-ACDA6DB55076}"/>
          </ac:picMkLst>
        </pc:picChg>
        <pc:picChg chg="add del mod">
          <ac:chgData name="Vincent Kharsyad [Chillibreeze]" userId="7b5f9e7a-8cb6-4e11-ad75-0918041740fe" providerId="ADAL" clId="{9D6E1852-5810-4B53-BDF5-FE17275CA0ED}" dt="2020-07-13T11:27:09.407" v="878" actId="478"/>
          <ac:picMkLst>
            <pc:docMk/>
            <pc:sldMk cId="3981396567" sldId="1952"/>
            <ac:picMk id="36" creationId="{EE5C2701-8D2C-49C5-A473-705952C943D7}"/>
          </ac:picMkLst>
        </pc:picChg>
        <pc:picChg chg="add del mod">
          <ac:chgData name="Vincent Kharsyad [Chillibreeze]" userId="7b5f9e7a-8cb6-4e11-ad75-0918041740fe" providerId="ADAL" clId="{9D6E1852-5810-4B53-BDF5-FE17275CA0ED}" dt="2020-07-13T11:27:09.407" v="878" actId="478"/>
          <ac:picMkLst>
            <pc:docMk/>
            <pc:sldMk cId="3981396567" sldId="1952"/>
            <ac:picMk id="37" creationId="{7B3E92E6-DB34-46EA-A103-11B534E26DA2}"/>
          </ac:picMkLst>
        </pc:picChg>
        <pc:picChg chg="add del mod">
          <ac:chgData name="Vincent Kharsyad [Chillibreeze]" userId="7b5f9e7a-8cb6-4e11-ad75-0918041740fe" providerId="ADAL" clId="{9D6E1852-5810-4B53-BDF5-FE17275CA0ED}" dt="2020-07-13T11:27:09.407" v="878" actId="478"/>
          <ac:picMkLst>
            <pc:docMk/>
            <pc:sldMk cId="3981396567" sldId="1952"/>
            <ac:picMk id="38" creationId="{8B3A8473-1090-480B-807D-A444EEBAA35E}"/>
          </ac:picMkLst>
        </pc:picChg>
        <pc:picChg chg="mod topLvl">
          <ac:chgData name="Vincent Kharsyad [Chillibreeze]" userId="7b5f9e7a-8cb6-4e11-ad75-0918041740fe" providerId="ADAL" clId="{9D6E1852-5810-4B53-BDF5-FE17275CA0ED}" dt="2020-07-13T11:23:19.080" v="806" actId="164"/>
          <ac:picMkLst>
            <pc:docMk/>
            <pc:sldMk cId="3981396567" sldId="1952"/>
            <ac:picMk id="39" creationId="{AB8DCC94-7019-4544-B5B5-E0DF11EB38E0}"/>
          </ac:picMkLst>
        </pc:picChg>
        <pc:picChg chg="mod">
          <ac:chgData name="Vincent Kharsyad [Chillibreeze]" userId="7b5f9e7a-8cb6-4e11-ad75-0918041740fe" providerId="ADAL" clId="{9D6E1852-5810-4B53-BDF5-FE17275CA0ED}" dt="2020-07-13T11:27:18.190" v="879" actId="13244"/>
          <ac:picMkLst>
            <pc:docMk/>
            <pc:sldMk cId="3981396567" sldId="1952"/>
            <ac:picMk id="40" creationId="{2B4CB5E3-E61C-4819-8148-3FD58770EFC6}"/>
          </ac:picMkLst>
        </pc:picChg>
        <pc:picChg chg="mod">
          <ac:chgData name="Vincent Kharsyad [Chillibreeze]" userId="7b5f9e7a-8cb6-4e11-ad75-0918041740fe" providerId="ADAL" clId="{9D6E1852-5810-4B53-BDF5-FE17275CA0ED}" dt="2020-07-13T11:27:31.430" v="881" actId="13244"/>
          <ac:picMkLst>
            <pc:docMk/>
            <pc:sldMk cId="3981396567" sldId="1952"/>
            <ac:picMk id="41" creationId="{74801417-2C95-4E60-A9AB-4B4188009320}"/>
          </ac:picMkLst>
        </pc:picChg>
        <pc:picChg chg="mod topLvl">
          <ac:chgData name="Vincent Kharsyad [Chillibreeze]" userId="7b5f9e7a-8cb6-4e11-ad75-0918041740fe" providerId="ADAL" clId="{9D6E1852-5810-4B53-BDF5-FE17275CA0ED}" dt="2020-07-13T11:23:20.228" v="807" actId="164"/>
          <ac:picMkLst>
            <pc:docMk/>
            <pc:sldMk cId="3981396567" sldId="1952"/>
            <ac:picMk id="42" creationId="{91A7AD51-E21F-4A3C-8D0A-0723401F724E}"/>
          </ac:picMkLst>
        </pc:picChg>
        <pc:picChg chg="mod">
          <ac:chgData name="Vincent Kharsyad [Chillibreeze]" userId="7b5f9e7a-8cb6-4e11-ad75-0918041740fe" providerId="ADAL" clId="{9D6E1852-5810-4B53-BDF5-FE17275CA0ED}" dt="2020-07-13T11:27:41.597" v="882" actId="13244"/>
          <ac:picMkLst>
            <pc:docMk/>
            <pc:sldMk cId="3981396567" sldId="1952"/>
            <ac:picMk id="43" creationId="{0A516DB2-BD79-40E3-9312-6018B5DFF005}"/>
          </ac:picMkLst>
        </pc:picChg>
        <pc:picChg chg="mod topLvl">
          <ac:chgData name="Vincent Kharsyad [Chillibreeze]" userId="7b5f9e7a-8cb6-4e11-ad75-0918041740fe" providerId="ADAL" clId="{9D6E1852-5810-4B53-BDF5-FE17275CA0ED}" dt="2020-07-13T11:23:22.584" v="809" actId="164"/>
          <ac:picMkLst>
            <pc:docMk/>
            <pc:sldMk cId="3981396567" sldId="1952"/>
            <ac:picMk id="44" creationId="{D44D14AD-F461-4A81-81F1-653EE07632CF}"/>
          </ac:picMkLst>
        </pc:picChg>
        <pc:picChg chg="mod">
          <ac:chgData name="Vincent Kharsyad [Chillibreeze]" userId="7b5f9e7a-8cb6-4e11-ad75-0918041740fe" providerId="ADAL" clId="{9D6E1852-5810-4B53-BDF5-FE17275CA0ED}" dt="2020-07-13T11:27:50.902" v="884" actId="13244"/>
          <ac:picMkLst>
            <pc:docMk/>
            <pc:sldMk cId="3981396567" sldId="1952"/>
            <ac:picMk id="46" creationId="{8BF0C6D0-8BB3-40C1-978E-65007C224951}"/>
          </ac:picMkLst>
        </pc:picChg>
        <pc:picChg chg="mod">
          <ac:chgData name="Vincent Kharsyad [Chillibreeze]" userId="7b5f9e7a-8cb6-4e11-ad75-0918041740fe" providerId="ADAL" clId="{9D6E1852-5810-4B53-BDF5-FE17275CA0ED}" dt="2020-07-13T11:28:25.166" v="889" actId="13244"/>
          <ac:picMkLst>
            <pc:docMk/>
            <pc:sldMk cId="3981396567" sldId="1952"/>
            <ac:picMk id="47" creationId="{CB660C30-7C86-4153-96A9-8B51A38A045A}"/>
          </ac:picMkLst>
        </pc:picChg>
      </pc:sldChg>
      <pc:sldChg chg="addSp delSp modSp mod">
        <pc:chgData name="Vincent Kharsyad [Chillibreeze]" userId="7b5f9e7a-8cb6-4e11-ad75-0918041740fe" providerId="ADAL" clId="{9D6E1852-5810-4B53-BDF5-FE17275CA0ED}" dt="2020-07-13T11:34:46.071" v="1037" actId="13244"/>
        <pc:sldMkLst>
          <pc:docMk/>
          <pc:sldMk cId="171335779" sldId="1953"/>
        </pc:sldMkLst>
        <pc:spChg chg="mod">
          <ac:chgData name="Vincent Kharsyad [Chillibreeze]" userId="7b5f9e7a-8cb6-4e11-ad75-0918041740fe" providerId="ADAL" clId="{9D6E1852-5810-4B53-BDF5-FE17275CA0ED}" dt="2020-07-13T07:09:36.143" v="344" actId="338"/>
          <ac:spMkLst>
            <pc:docMk/>
            <pc:sldMk cId="171335779" sldId="1953"/>
            <ac:spMk id="2" creationId="{0AE2E1E9-142E-49B2-A65B-46D36A572165}"/>
          </ac:spMkLst>
        </pc:spChg>
        <pc:spChg chg="mod">
          <ac:chgData name="Vincent Kharsyad [Chillibreeze]" userId="7b5f9e7a-8cb6-4e11-ad75-0918041740fe" providerId="ADAL" clId="{9D6E1852-5810-4B53-BDF5-FE17275CA0ED}" dt="2020-07-13T11:34:00.511" v="1031" actId="13244"/>
          <ac:spMkLst>
            <pc:docMk/>
            <pc:sldMk cId="171335779" sldId="1953"/>
            <ac:spMk id="3" creationId="{32ED5412-A196-4F91-BAF1-62726A9B073C}"/>
          </ac:spMkLst>
        </pc:spChg>
        <pc:spChg chg="mod">
          <ac:chgData name="Vincent Kharsyad [Chillibreeze]" userId="7b5f9e7a-8cb6-4e11-ad75-0918041740fe" providerId="ADAL" clId="{9D6E1852-5810-4B53-BDF5-FE17275CA0ED}" dt="2020-07-13T07:09:13.995" v="342" actId="338"/>
          <ac:spMkLst>
            <pc:docMk/>
            <pc:sldMk cId="171335779" sldId="1953"/>
            <ac:spMk id="12" creationId="{46687DEB-E353-4B6A-B81E-FE494DAD3B66}"/>
          </ac:spMkLst>
        </pc:spChg>
        <pc:spChg chg="mod">
          <ac:chgData name="Vincent Kharsyad [Chillibreeze]" userId="7b5f9e7a-8cb6-4e11-ad75-0918041740fe" providerId="ADAL" clId="{9D6E1852-5810-4B53-BDF5-FE17275CA0ED}" dt="2020-07-13T07:09:13.995" v="342" actId="338"/>
          <ac:spMkLst>
            <pc:docMk/>
            <pc:sldMk cId="171335779" sldId="1953"/>
            <ac:spMk id="13" creationId="{E6168A8D-C53D-4F6A-B056-3D3C446BFD32}"/>
          </ac:spMkLst>
        </pc:spChg>
        <pc:spChg chg="mod">
          <ac:chgData name="Vincent Kharsyad [Chillibreeze]" userId="7b5f9e7a-8cb6-4e11-ad75-0918041740fe" providerId="ADAL" clId="{9D6E1852-5810-4B53-BDF5-FE17275CA0ED}" dt="2020-07-13T07:09:13.995" v="342" actId="338"/>
          <ac:spMkLst>
            <pc:docMk/>
            <pc:sldMk cId="171335779" sldId="1953"/>
            <ac:spMk id="14" creationId="{BFB2F4A9-949C-4924-8ABD-7AF4962D112E}"/>
          </ac:spMkLst>
        </pc:spChg>
        <pc:spChg chg="mod">
          <ac:chgData name="Vincent Kharsyad [Chillibreeze]" userId="7b5f9e7a-8cb6-4e11-ad75-0918041740fe" providerId="ADAL" clId="{9D6E1852-5810-4B53-BDF5-FE17275CA0ED}" dt="2020-07-13T07:09:13.995" v="342" actId="338"/>
          <ac:spMkLst>
            <pc:docMk/>
            <pc:sldMk cId="171335779" sldId="1953"/>
            <ac:spMk id="15" creationId="{E0845861-DDCE-4574-87EE-788BEF70B264}"/>
          </ac:spMkLst>
        </pc:spChg>
        <pc:spChg chg="mod">
          <ac:chgData name="Vincent Kharsyad [Chillibreeze]" userId="7b5f9e7a-8cb6-4e11-ad75-0918041740fe" providerId="ADAL" clId="{9D6E1852-5810-4B53-BDF5-FE17275CA0ED}" dt="2020-07-13T07:09:42.886" v="346" actId="1076"/>
          <ac:spMkLst>
            <pc:docMk/>
            <pc:sldMk cId="171335779" sldId="1953"/>
            <ac:spMk id="17" creationId="{E0DA7536-EDDB-45E9-8E1F-C9A3F1C0C7B4}"/>
          </ac:spMkLst>
        </pc:spChg>
        <pc:spChg chg="mod">
          <ac:chgData name="Vincent Kharsyad [Chillibreeze]" userId="7b5f9e7a-8cb6-4e11-ad75-0918041740fe" providerId="ADAL" clId="{9D6E1852-5810-4B53-BDF5-FE17275CA0ED}" dt="2020-07-13T07:09:42.886" v="346" actId="1076"/>
          <ac:spMkLst>
            <pc:docMk/>
            <pc:sldMk cId="171335779" sldId="1953"/>
            <ac:spMk id="18" creationId="{2E9486FD-E8F6-4262-9B2C-D632E190944B}"/>
          </ac:spMkLst>
        </pc:spChg>
        <pc:spChg chg="mod">
          <ac:chgData name="Vincent Kharsyad [Chillibreeze]" userId="7b5f9e7a-8cb6-4e11-ad75-0918041740fe" providerId="ADAL" clId="{9D6E1852-5810-4B53-BDF5-FE17275CA0ED}" dt="2020-07-13T07:09:42.886" v="346" actId="1076"/>
          <ac:spMkLst>
            <pc:docMk/>
            <pc:sldMk cId="171335779" sldId="1953"/>
            <ac:spMk id="19" creationId="{7A7BD052-B1D3-46F7-A0B5-C5ABEB83138E}"/>
          </ac:spMkLst>
        </pc:spChg>
        <pc:spChg chg="mod">
          <ac:chgData name="Vincent Kharsyad [Chillibreeze]" userId="7b5f9e7a-8cb6-4e11-ad75-0918041740fe" providerId="ADAL" clId="{9D6E1852-5810-4B53-BDF5-FE17275CA0ED}" dt="2020-07-13T07:09:42.886" v="346" actId="1076"/>
          <ac:spMkLst>
            <pc:docMk/>
            <pc:sldMk cId="171335779" sldId="1953"/>
            <ac:spMk id="20" creationId="{6587DA75-A03B-4FA8-BFCF-DB8DA95FDC44}"/>
          </ac:spMkLst>
        </pc:spChg>
        <pc:spChg chg="mod">
          <ac:chgData name="Vincent Kharsyad [Chillibreeze]" userId="7b5f9e7a-8cb6-4e11-ad75-0918041740fe" providerId="ADAL" clId="{9D6E1852-5810-4B53-BDF5-FE17275CA0ED}" dt="2020-07-13T11:28:42.544" v="890" actId="165"/>
          <ac:spMkLst>
            <pc:docMk/>
            <pc:sldMk cId="171335779" sldId="1953"/>
            <ac:spMk id="41" creationId="{FABEAFE2-28D6-4C9D-B488-0A71D3BFEFCC}"/>
          </ac:spMkLst>
        </pc:spChg>
        <pc:spChg chg="mod">
          <ac:chgData name="Vincent Kharsyad [Chillibreeze]" userId="7b5f9e7a-8cb6-4e11-ad75-0918041740fe" providerId="ADAL" clId="{9D6E1852-5810-4B53-BDF5-FE17275CA0ED}" dt="2020-07-13T11:28:42.544" v="890" actId="165"/>
          <ac:spMkLst>
            <pc:docMk/>
            <pc:sldMk cId="171335779" sldId="1953"/>
            <ac:spMk id="42" creationId="{B2271FF4-30AB-4129-9AD7-D56CC23F90B1}"/>
          </ac:spMkLst>
        </pc:spChg>
        <pc:spChg chg="mod">
          <ac:chgData name="Vincent Kharsyad [Chillibreeze]" userId="7b5f9e7a-8cb6-4e11-ad75-0918041740fe" providerId="ADAL" clId="{9D6E1852-5810-4B53-BDF5-FE17275CA0ED}" dt="2020-07-13T11:28:42.544" v="890" actId="165"/>
          <ac:spMkLst>
            <pc:docMk/>
            <pc:sldMk cId="171335779" sldId="1953"/>
            <ac:spMk id="44" creationId="{32B88713-BF36-44F4-BDB9-07D0079A9243}"/>
          </ac:spMkLst>
        </pc:spChg>
        <pc:spChg chg="mod">
          <ac:chgData name="Vincent Kharsyad [Chillibreeze]" userId="7b5f9e7a-8cb6-4e11-ad75-0918041740fe" providerId="ADAL" clId="{9D6E1852-5810-4B53-BDF5-FE17275CA0ED}" dt="2020-07-13T11:28:42.544" v="890" actId="165"/>
          <ac:spMkLst>
            <pc:docMk/>
            <pc:sldMk cId="171335779" sldId="1953"/>
            <ac:spMk id="45" creationId="{056C393B-A0C5-4D51-90AC-A0D496D00BB6}"/>
          </ac:spMkLst>
        </pc:spChg>
        <pc:spChg chg="mod">
          <ac:chgData name="Vincent Kharsyad [Chillibreeze]" userId="7b5f9e7a-8cb6-4e11-ad75-0918041740fe" providerId="ADAL" clId="{9D6E1852-5810-4B53-BDF5-FE17275CA0ED}" dt="2020-07-13T11:28:42.544" v="890" actId="165"/>
          <ac:spMkLst>
            <pc:docMk/>
            <pc:sldMk cId="171335779" sldId="1953"/>
            <ac:spMk id="48" creationId="{3871D271-9F04-43D6-9E0C-2116201AD23A}"/>
          </ac:spMkLst>
        </pc:spChg>
        <pc:spChg chg="mod">
          <ac:chgData name="Vincent Kharsyad [Chillibreeze]" userId="7b5f9e7a-8cb6-4e11-ad75-0918041740fe" providerId="ADAL" clId="{9D6E1852-5810-4B53-BDF5-FE17275CA0ED}" dt="2020-07-13T11:28:42.544" v="890" actId="165"/>
          <ac:spMkLst>
            <pc:docMk/>
            <pc:sldMk cId="171335779" sldId="1953"/>
            <ac:spMk id="49" creationId="{E2F49714-C897-4E15-A1B5-D867D5C02AC5}"/>
          </ac:spMkLst>
        </pc:spChg>
        <pc:spChg chg="mod">
          <ac:chgData name="Vincent Kharsyad [Chillibreeze]" userId="7b5f9e7a-8cb6-4e11-ad75-0918041740fe" providerId="ADAL" clId="{9D6E1852-5810-4B53-BDF5-FE17275CA0ED}" dt="2020-07-13T07:12:33.777" v="430" actId="571"/>
          <ac:spMkLst>
            <pc:docMk/>
            <pc:sldMk cId="171335779" sldId="1953"/>
            <ac:spMk id="51" creationId="{8B7D544F-C2D5-4655-ADA1-2D99D4D2D8F6}"/>
          </ac:spMkLst>
        </pc:spChg>
        <pc:spChg chg="mod">
          <ac:chgData name="Vincent Kharsyad [Chillibreeze]" userId="7b5f9e7a-8cb6-4e11-ad75-0918041740fe" providerId="ADAL" clId="{9D6E1852-5810-4B53-BDF5-FE17275CA0ED}" dt="2020-07-13T07:12:33.777" v="430" actId="571"/>
          <ac:spMkLst>
            <pc:docMk/>
            <pc:sldMk cId="171335779" sldId="1953"/>
            <ac:spMk id="52" creationId="{59BAE7D3-79F5-456C-8279-C77A3DF7E7F8}"/>
          </ac:spMkLst>
        </pc:spChg>
        <pc:spChg chg="mod">
          <ac:chgData name="Vincent Kharsyad [Chillibreeze]" userId="7b5f9e7a-8cb6-4e11-ad75-0918041740fe" providerId="ADAL" clId="{9D6E1852-5810-4B53-BDF5-FE17275CA0ED}" dt="2020-07-13T07:12:33.467" v="429"/>
          <ac:spMkLst>
            <pc:docMk/>
            <pc:sldMk cId="171335779" sldId="1953"/>
            <ac:spMk id="54" creationId="{EA4EEEC2-36C3-4D19-B45D-4FE9A694FEFE}"/>
          </ac:spMkLst>
        </pc:spChg>
        <pc:spChg chg="mod">
          <ac:chgData name="Vincent Kharsyad [Chillibreeze]" userId="7b5f9e7a-8cb6-4e11-ad75-0918041740fe" providerId="ADAL" clId="{9D6E1852-5810-4B53-BDF5-FE17275CA0ED}" dt="2020-07-13T07:12:33.467" v="429"/>
          <ac:spMkLst>
            <pc:docMk/>
            <pc:sldMk cId="171335779" sldId="1953"/>
            <ac:spMk id="55" creationId="{3F2D0783-2184-44A2-B788-61630D7E887E}"/>
          </ac:spMkLst>
        </pc:spChg>
        <pc:spChg chg="mod">
          <ac:chgData name="Vincent Kharsyad [Chillibreeze]" userId="7b5f9e7a-8cb6-4e11-ad75-0918041740fe" providerId="ADAL" clId="{9D6E1852-5810-4B53-BDF5-FE17275CA0ED}" dt="2020-07-13T11:28:42.544" v="890" actId="165"/>
          <ac:spMkLst>
            <pc:docMk/>
            <pc:sldMk cId="171335779" sldId="1953"/>
            <ac:spMk id="57" creationId="{4CD0EFAC-1C29-4C64-9E2D-72388ABDBB2E}"/>
          </ac:spMkLst>
        </pc:spChg>
        <pc:spChg chg="mod">
          <ac:chgData name="Vincent Kharsyad [Chillibreeze]" userId="7b5f9e7a-8cb6-4e11-ad75-0918041740fe" providerId="ADAL" clId="{9D6E1852-5810-4B53-BDF5-FE17275CA0ED}" dt="2020-07-13T11:32:40.883" v="1028"/>
          <ac:spMkLst>
            <pc:docMk/>
            <pc:sldMk cId="171335779" sldId="1953"/>
            <ac:spMk id="58" creationId="{178D6D2F-4F6F-477F-AD34-EF08B47BBA11}"/>
          </ac:spMkLst>
        </pc:spChg>
        <pc:spChg chg="mod">
          <ac:chgData name="Vincent Kharsyad [Chillibreeze]" userId="7b5f9e7a-8cb6-4e11-ad75-0918041740fe" providerId="ADAL" clId="{9D6E1852-5810-4B53-BDF5-FE17275CA0ED}" dt="2020-07-13T11:32:49.492" v="1029" actId="14100"/>
          <ac:spMkLst>
            <pc:docMk/>
            <pc:sldMk cId="171335779" sldId="1953"/>
            <ac:spMk id="59" creationId="{08FAD90B-19D5-4558-BCC5-B2DE7E689EE1}"/>
          </ac:spMkLst>
        </pc:spChg>
        <pc:spChg chg="mod">
          <ac:chgData name="Vincent Kharsyad [Chillibreeze]" userId="7b5f9e7a-8cb6-4e11-ad75-0918041740fe" providerId="ADAL" clId="{9D6E1852-5810-4B53-BDF5-FE17275CA0ED}" dt="2020-07-13T11:32:49.492" v="1029" actId="14100"/>
          <ac:spMkLst>
            <pc:docMk/>
            <pc:sldMk cId="171335779" sldId="1953"/>
            <ac:spMk id="60" creationId="{AFA1C8CC-C223-45E8-ACB3-065A50855BAB}"/>
          </ac:spMkLst>
        </pc:spChg>
        <pc:spChg chg="mod">
          <ac:chgData name="Vincent Kharsyad [Chillibreeze]" userId="7b5f9e7a-8cb6-4e11-ad75-0918041740fe" providerId="ADAL" clId="{9D6E1852-5810-4B53-BDF5-FE17275CA0ED}" dt="2020-07-13T11:32:49.492" v="1029" actId="14100"/>
          <ac:spMkLst>
            <pc:docMk/>
            <pc:sldMk cId="171335779" sldId="1953"/>
            <ac:spMk id="61" creationId="{BEE48B26-944E-4BB7-A9EA-F5BEA6C54CFA}"/>
          </ac:spMkLst>
        </pc:spChg>
        <pc:spChg chg="mod">
          <ac:chgData name="Vincent Kharsyad [Chillibreeze]" userId="7b5f9e7a-8cb6-4e11-ad75-0918041740fe" providerId="ADAL" clId="{9D6E1852-5810-4B53-BDF5-FE17275CA0ED}" dt="2020-07-13T11:28:42.544" v="890" actId="165"/>
          <ac:spMkLst>
            <pc:docMk/>
            <pc:sldMk cId="171335779" sldId="1953"/>
            <ac:spMk id="65" creationId="{43D6734B-0D0F-4898-86FF-9579775AB91D}"/>
          </ac:spMkLst>
        </pc:spChg>
        <pc:grpChg chg="mod">
          <ac:chgData name="Vincent Kharsyad [Chillibreeze]" userId="7b5f9e7a-8cb6-4e11-ad75-0918041740fe" providerId="ADAL" clId="{9D6E1852-5810-4B53-BDF5-FE17275CA0ED}" dt="2020-07-13T07:09:36.143" v="344" actId="338"/>
          <ac:grpSpMkLst>
            <pc:docMk/>
            <pc:sldMk cId="171335779" sldId="1953"/>
            <ac:grpSpMk id="1" creationId="{00000000-0000-0000-0000-000000000000}"/>
          </ac:grpSpMkLst>
        </pc:grpChg>
        <pc:grpChg chg="add del mod">
          <ac:chgData name="Vincent Kharsyad [Chillibreeze]" userId="7b5f9e7a-8cb6-4e11-ad75-0918041740fe" providerId="ADAL" clId="{9D6E1852-5810-4B53-BDF5-FE17275CA0ED}" dt="2020-07-13T11:29:02.736" v="896" actId="21"/>
          <ac:grpSpMkLst>
            <pc:docMk/>
            <pc:sldMk cId="171335779" sldId="1953"/>
            <ac:grpSpMk id="4" creationId="{02C48482-0766-4CE7-909C-55E6A05E30E0}"/>
          </ac:grpSpMkLst>
        </pc:grpChg>
        <pc:grpChg chg="add del mod">
          <ac:chgData name="Vincent Kharsyad [Chillibreeze]" userId="7b5f9e7a-8cb6-4e11-ad75-0918041740fe" providerId="ADAL" clId="{9D6E1852-5810-4B53-BDF5-FE17275CA0ED}" dt="2020-07-13T05:25:44.829" v="168" actId="165"/>
          <ac:grpSpMkLst>
            <pc:docMk/>
            <pc:sldMk cId="171335779" sldId="1953"/>
            <ac:grpSpMk id="4" creationId="{EC8BAE23-9B19-456C-A47E-D6C7A6D7D683}"/>
          </ac:grpSpMkLst>
        </pc:grpChg>
        <pc:grpChg chg="add del mod">
          <ac:chgData name="Vincent Kharsyad [Chillibreeze]" userId="7b5f9e7a-8cb6-4e11-ad75-0918041740fe" providerId="ADAL" clId="{9D6E1852-5810-4B53-BDF5-FE17275CA0ED}" dt="2020-07-13T11:29:25.184" v="901" actId="21"/>
          <ac:grpSpMkLst>
            <pc:docMk/>
            <pc:sldMk cId="171335779" sldId="1953"/>
            <ac:grpSpMk id="5" creationId="{BBFF0206-C637-4B99-B9CD-5DDEE78C7AA2}"/>
          </ac:grpSpMkLst>
        </pc:grpChg>
        <pc:grpChg chg="add del mod topLvl">
          <ac:chgData name="Vincent Kharsyad [Chillibreeze]" userId="7b5f9e7a-8cb6-4e11-ad75-0918041740fe" providerId="ADAL" clId="{9D6E1852-5810-4B53-BDF5-FE17275CA0ED}" dt="2020-07-13T07:09:06.539" v="341" actId="165"/>
          <ac:grpSpMkLst>
            <pc:docMk/>
            <pc:sldMk cId="171335779" sldId="1953"/>
            <ac:grpSpMk id="5" creationId="{D34FCD4B-C68B-4EEE-9B57-D9CC35EF4E08}"/>
          </ac:grpSpMkLst>
        </pc:grpChg>
        <pc:grpChg chg="add del mod">
          <ac:chgData name="Vincent Kharsyad [Chillibreeze]" userId="7b5f9e7a-8cb6-4e11-ad75-0918041740fe" providerId="ADAL" clId="{9D6E1852-5810-4B53-BDF5-FE17275CA0ED}" dt="2020-07-13T11:29:33.448" v="903" actId="21"/>
          <ac:grpSpMkLst>
            <pc:docMk/>
            <pc:sldMk cId="171335779" sldId="1953"/>
            <ac:grpSpMk id="6" creationId="{600C90EB-929B-47C8-8DDB-9282DF260A74}"/>
          </ac:grpSpMkLst>
        </pc:grpChg>
        <pc:grpChg chg="add del mod topLvl modVis">
          <ac:chgData name="Vincent Kharsyad [Chillibreeze]" userId="7b5f9e7a-8cb6-4e11-ad75-0918041740fe" providerId="ADAL" clId="{9D6E1852-5810-4B53-BDF5-FE17275CA0ED}" dt="2020-07-13T07:10:13.753" v="349" actId="165"/>
          <ac:grpSpMkLst>
            <pc:docMk/>
            <pc:sldMk cId="171335779" sldId="1953"/>
            <ac:grpSpMk id="6" creationId="{6D4DBFC7-C87C-418E-B207-B47D07E9FB87}"/>
          </ac:grpSpMkLst>
        </pc:grpChg>
        <pc:grpChg chg="add del mod ord modVis">
          <ac:chgData name="Vincent Kharsyad [Chillibreeze]" userId="7b5f9e7a-8cb6-4e11-ad75-0918041740fe" providerId="ADAL" clId="{9D6E1852-5810-4B53-BDF5-FE17275CA0ED}" dt="2020-07-13T06:04:32.002" v="232" actId="165"/>
          <ac:grpSpMkLst>
            <pc:docMk/>
            <pc:sldMk cId="171335779" sldId="1953"/>
            <ac:grpSpMk id="7" creationId="{AE464459-15AB-4A78-ABC0-F6CE919A7893}"/>
          </ac:grpSpMkLst>
        </pc:grpChg>
        <pc:grpChg chg="add del mod">
          <ac:chgData name="Vincent Kharsyad [Chillibreeze]" userId="7b5f9e7a-8cb6-4e11-ad75-0918041740fe" providerId="ADAL" clId="{9D6E1852-5810-4B53-BDF5-FE17275CA0ED}" dt="2020-07-13T11:29:41.613" v="906" actId="21"/>
          <ac:grpSpMkLst>
            <pc:docMk/>
            <pc:sldMk cId="171335779" sldId="1953"/>
            <ac:grpSpMk id="7" creationId="{EFEC5A2B-DD19-4218-9A27-C44DF0E856AC}"/>
          </ac:grpSpMkLst>
        </pc:grpChg>
        <pc:grpChg chg="mod">
          <ac:chgData name="Vincent Kharsyad [Chillibreeze]" userId="7b5f9e7a-8cb6-4e11-ad75-0918041740fe" providerId="ADAL" clId="{9D6E1852-5810-4B53-BDF5-FE17275CA0ED}" dt="2020-07-13T07:09:13.995" v="342" actId="338"/>
          <ac:grpSpMkLst>
            <pc:docMk/>
            <pc:sldMk cId="171335779" sldId="1953"/>
            <ac:grpSpMk id="11" creationId="{C9804333-3670-4686-8059-9D17E700D9F6}"/>
          </ac:grpSpMkLst>
        </pc:grpChg>
        <pc:grpChg chg="mod">
          <ac:chgData name="Vincent Kharsyad [Chillibreeze]" userId="7b5f9e7a-8cb6-4e11-ad75-0918041740fe" providerId="ADAL" clId="{9D6E1852-5810-4B53-BDF5-FE17275CA0ED}" dt="2020-07-13T07:09:42.886" v="346" actId="1076"/>
          <ac:grpSpMkLst>
            <pc:docMk/>
            <pc:sldMk cId="171335779" sldId="1953"/>
            <ac:grpSpMk id="16" creationId="{4807B771-D296-40DD-96B1-573FEDD9022B}"/>
          </ac:grpSpMkLst>
        </pc:grpChg>
        <pc:grpChg chg="add del mod">
          <ac:chgData name="Vincent Kharsyad [Chillibreeze]" userId="7b5f9e7a-8cb6-4e11-ad75-0918041740fe" providerId="ADAL" clId="{9D6E1852-5810-4B53-BDF5-FE17275CA0ED}" dt="2020-07-13T11:28:42.544" v="890" actId="165"/>
          <ac:grpSpMkLst>
            <pc:docMk/>
            <pc:sldMk cId="171335779" sldId="1953"/>
            <ac:grpSpMk id="21" creationId="{E54B39F4-2001-492A-88C4-9DFF9F1CF81C}"/>
          </ac:grpSpMkLst>
        </pc:grpChg>
        <pc:grpChg chg="add del mod">
          <ac:chgData name="Vincent Kharsyad [Chillibreeze]" userId="7b5f9e7a-8cb6-4e11-ad75-0918041740fe" providerId="ADAL" clId="{9D6E1852-5810-4B53-BDF5-FE17275CA0ED}" dt="2020-07-13T11:28:42.544" v="890" actId="165"/>
          <ac:grpSpMkLst>
            <pc:docMk/>
            <pc:sldMk cId="171335779" sldId="1953"/>
            <ac:grpSpMk id="22" creationId="{41100881-ACCD-43D0-959D-CE77221C0A25}"/>
          </ac:grpSpMkLst>
        </pc:grpChg>
        <pc:grpChg chg="add del mod">
          <ac:chgData name="Vincent Kharsyad [Chillibreeze]" userId="7b5f9e7a-8cb6-4e11-ad75-0918041740fe" providerId="ADAL" clId="{9D6E1852-5810-4B53-BDF5-FE17275CA0ED}" dt="2020-07-13T11:28:42.544" v="890" actId="165"/>
          <ac:grpSpMkLst>
            <pc:docMk/>
            <pc:sldMk cId="171335779" sldId="1953"/>
            <ac:grpSpMk id="23" creationId="{6488AD2A-5E4C-4371-96D3-8E92F2DAD12A}"/>
          </ac:grpSpMkLst>
        </pc:grpChg>
        <pc:grpChg chg="add del mod">
          <ac:chgData name="Vincent Kharsyad [Chillibreeze]" userId="7b5f9e7a-8cb6-4e11-ad75-0918041740fe" providerId="ADAL" clId="{9D6E1852-5810-4B53-BDF5-FE17275CA0ED}" dt="2020-07-13T11:28:42.544" v="890" actId="165"/>
          <ac:grpSpMkLst>
            <pc:docMk/>
            <pc:sldMk cId="171335779" sldId="1953"/>
            <ac:grpSpMk id="24" creationId="{DEA873EA-CA6A-42FD-BE1D-5CA9E05D4F00}"/>
          </ac:grpSpMkLst>
        </pc:grpChg>
        <pc:grpChg chg="add del mod">
          <ac:chgData name="Vincent Kharsyad [Chillibreeze]" userId="7b5f9e7a-8cb6-4e11-ad75-0918041740fe" providerId="ADAL" clId="{9D6E1852-5810-4B53-BDF5-FE17275CA0ED}" dt="2020-07-13T07:10:52.088" v="361" actId="165"/>
          <ac:grpSpMkLst>
            <pc:docMk/>
            <pc:sldMk cId="171335779" sldId="1953"/>
            <ac:grpSpMk id="38" creationId="{DADE16E9-A987-40C2-8E1B-52D973D2370F}"/>
          </ac:grpSpMkLst>
        </pc:grpChg>
        <pc:grpChg chg="mod ord topLvl">
          <ac:chgData name="Vincent Kharsyad [Chillibreeze]" userId="7b5f9e7a-8cb6-4e11-ad75-0918041740fe" providerId="ADAL" clId="{9D6E1852-5810-4B53-BDF5-FE17275CA0ED}" dt="2020-07-13T11:28:56.900" v="892" actId="164"/>
          <ac:grpSpMkLst>
            <pc:docMk/>
            <pc:sldMk cId="171335779" sldId="1953"/>
            <ac:grpSpMk id="39" creationId="{0025178E-671C-4D2C-B53D-561A2426CF8D}"/>
          </ac:grpSpMkLst>
        </pc:grpChg>
        <pc:grpChg chg="add mod ord topLvl">
          <ac:chgData name="Vincent Kharsyad [Chillibreeze]" userId="7b5f9e7a-8cb6-4e11-ad75-0918041740fe" providerId="ADAL" clId="{9D6E1852-5810-4B53-BDF5-FE17275CA0ED}" dt="2020-07-13T11:28:58.120" v="893" actId="164"/>
          <ac:grpSpMkLst>
            <pc:docMk/>
            <pc:sldMk cId="171335779" sldId="1953"/>
            <ac:grpSpMk id="43" creationId="{E3228394-8C85-4EB3-A796-0993A5205608}"/>
          </ac:grpSpMkLst>
        </pc:grpChg>
        <pc:grpChg chg="add mod ord topLvl">
          <ac:chgData name="Vincent Kharsyad [Chillibreeze]" userId="7b5f9e7a-8cb6-4e11-ad75-0918041740fe" providerId="ADAL" clId="{9D6E1852-5810-4B53-BDF5-FE17275CA0ED}" dt="2020-07-13T11:28:59.465" v="894" actId="164"/>
          <ac:grpSpMkLst>
            <pc:docMk/>
            <pc:sldMk cId="171335779" sldId="1953"/>
            <ac:grpSpMk id="47" creationId="{255D0EB2-886F-46A0-A085-18DC0353C6A8}"/>
          </ac:grpSpMkLst>
        </pc:grpChg>
        <pc:grpChg chg="add mod">
          <ac:chgData name="Vincent Kharsyad [Chillibreeze]" userId="7b5f9e7a-8cb6-4e11-ad75-0918041740fe" providerId="ADAL" clId="{9D6E1852-5810-4B53-BDF5-FE17275CA0ED}" dt="2020-07-13T07:12:33.777" v="430" actId="571"/>
          <ac:grpSpMkLst>
            <pc:docMk/>
            <pc:sldMk cId="171335779" sldId="1953"/>
            <ac:grpSpMk id="50" creationId="{E02BD898-20E5-4868-8D7D-81140453E80B}"/>
          </ac:grpSpMkLst>
        </pc:grpChg>
        <pc:grpChg chg="add mod">
          <ac:chgData name="Vincent Kharsyad [Chillibreeze]" userId="7b5f9e7a-8cb6-4e11-ad75-0918041740fe" providerId="ADAL" clId="{9D6E1852-5810-4B53-BDF5-FE17275CA0ED}" dt="2020-07-13T07:12:33.467" v="429"/>
          <ac:grpSpMkLst>
            <pc:docMk/>
            <pc:sldMk cId="171335779" sldId="1953"/>
            <ac:grpSpMk id="53" creationId="{ECDFD099-C2BB-43D2-B434-AAC9F9372551}"/>
          </ac:grpSpMkLst>
        </pc:grpChg>
        <pc:grpChg chg="add mod ord topLvl">
          <ac:chgData name="Vincent Kharsyad [Chillibreeze]" userId="7b5f9e7a-8cb6-4e11-ad75-0918041740fe" providerId="ADAL" clId="{9D6E1852-5810-4B53-BDF5-FE17275CA0ED}" dt="2020-07-13T11:29:00.749" v="895" actId="164"/>
          <ac:grpSpMkLst>
            <pc:docMk/>
            <pc:sldMk cId="171335779" sldId="1953"/>
            <ac:grpSpMk id="56" creationId="{8ABC16DF-B7E9-4B5E-B682-4EE3C142F65F}"/>
          </ac:grpSpMkLst>
        </pc:grpChg>
        <pc:grpChg chg="del mod topLvl">
          <ac:chgData name="Vincent Kharsyad [Chillibreeze]" userId="7b5f9e7a-8cb6-4e11-ad75-0918041740fe" providerId="ADAL" clId="{9D6E1852-5810-4B53-BDF5-FE17275CA0ED}" dt="2020-07-13T07:10:21.730" v="353" actId="165"/>
          <ac:grpSpMkLst>
            <pc:docMk/>
            <pc:sldMk cId="171335779" sldId="1953"/>
            <ac:grpSpMk id="71" creationId="{6832068B-BD6E-4BB5-9C46-F0E9D019C8A4}"/>
          </ac:grpSpMkLst>
        </pc:grpChg>
        <pc:grpChg chg="del mod topLvl">
          <ac:chgData name="Vincent Kharsyad [Chillibreeze]" userId="7b5f9e7a-8cb6-4e11-ad75-0918041740fe" providerId="ADAL" clId="{9D6E1852-5810-4B53-BDF5-FE17275CA0ED}" dt="2020-07-13T07:10:18.370" v="351" actId="165"/>
          <ac:grpSpMkLst>
            <pc:docMk/>
            <pc:sldMk cId="171335779" sldId="1953"/>
            <ac:grpSpMk id="74" creationId="{9F252ED1-E128-4A8F-8F84-9502F7FAAB08}"/>
          </ac:grpSpMkLst>
        </pc:grpChg>
        <pc:picChg chg="mod">
          <ac:chgData name="Vincent Kharsyad [Chillibreeze]" userId="7b5f9e7a-8cb6-4e11-ad75-0918041740fe" providerId="ADAL" clId="{9D6E1852-5810-4B53-BDF5-FE17275CA0ED}" dt="2020-07-13T11:33:50.670" v="1030" actId="13244"/>
          <ac:picMkLst>
            <pc:docMk/>
            <pc:sldMk cId="171335779" sldId="1953"/>
            <ac:picMk id="8" creationId="{09AAD6D9-EA0B-4876-9F04-0E436CA94E31}"/>
          </ac:picMkLst>
        </pc:picChg>
        <pc:picChg chg="mod">
          <ac:chgData name="Vincent Kharsyad [Chillibreeze]" userId="7b5f9e7a-8cb6-4e11-ad75-0918041740fe" providerId="ADAL" clId="{9D6E1852-5810-4B53-BDF5-FE17275CA0ED}" dt="2020-07-13T11:34:19.814" v="1033" actId="13244"/>
          <ac:picMkLst>
            <pc:docMk/>
            <pc:sldMk cId="171335779" sldId="1953"/>
            <ac:picMk id="9" creationId="{2A5490B2-8CF8-4E36-91E0-76A6371F1B11}"/>
          </ac:picMkLst>
        </pc:picChg>
        <pc:picChg chg="mod">
          <ac:chgData name="Vincent Kharsyad [Chillibreeze]" userId="7b5f9e7a-8cb6-4e11-ad75-0918041740fe" providerId="ADAL" clId="{9D6E1852-5810-4B53-BDF5-FE17275CA0ED}" dt="2020-07-13T11:34:35.959" v="1035" actId="13244"/>
          <ac:picMkLst>
            <pc:docMk/>
            <pc:sldMk cId="171335779" sldId="1953"/>
            <ac:picMk id="10" creationId="{D0BA6485-2E9F-43A6-8AF7-4A6BAB14080B}"/>
          </ac:picMkLst>
        </pc:picChg>
        <pc:picChg chg="mod">
          <ac:chgData name="Vincent Kharsyad [Chillibreeze]" userId="7b5f9e7a-8cb6-4e11-ad75-0918041740fe" providerId="ADAL" clId="{9D6E1852-5810-4B53-BDF5-FE17275CA0ED}" dt="2020-07-13T11:34:46.071" v="1037" actId="13244"/>
          <ac:picMkLst>
            <pc:docMk/>
            <pc:sldMk cId="171335779" sldId="1953"/>
            <ac:picMk id="11" creationId="{BAD94B53-B93D-4586-861D-8EB2550BE2FC}"/>
          </ac:picMkLst>
        </pc:picChg>
        <pc:picChg chg="add del mod">
          <ac:chgData name="Vincent Kharsyad [Chillibreeze]" userId="7b5f9e7a-8cb6-4e11-ad75-0918041740fe" providerId="ADAL" clId="{9D6E1852-5810-4B53-BDF5-FE17275CA0ED}" dt="2020-07-13T11:30:33.960" v="922" actId="478"/>
          <ac:picMkLst>
            <pc:docMk/>
            <pc:sldMk cId="171335779" sldId="1953"/>
            <ac:picMk id="31" creationId="{4F30C64D-6FF7-4B82-884E-97582B39B5FD}"/>
          </ac:picMkLst>
        </pc:picChg>
        <pc:picChg chg="add del mod">
          <ac:chgData name="Vincent Kharsyad [Chillibreeze]" userId="7b5f9e7a-8cb6-4e11-ad75-0918041740fe" providerId="ADAL" clId="{9D6E1852-5810-4B53-BDF5-FE17275CA0ED}" dt="2020-07-13T11:30:33.960" v="922" actId="478"/>
          <ac:picMkLst>
            <pc:docMk/>
            <pc:sldMk cId="171335779" sldId="1953"/>
            <ac:picMk id="32" creationId="{4E8F4B1C-1584-417E-8DBE-C555B1F748E5}"/>
          </ac:picMkLst>
        </pc:picChg>
        <pc:picChg chg="add del mod">
          <ac:chgData name="Vincent Kharsyad [Chillibreeze]" userId="7b5f9e7a-8cb6-4e11-ad75-0918041740fe" providerId="ADAL" clId="{9D6E1852-5810-4B53-BDF5-FE17275CA0ED}" dt="2020-07-13T11:30:33.960" v="922" actId="478"/>
          <ac:picMkLst>
            <pc:docMk/>
            <pc:sldMk cId="171335779" sldId="1953"/>
            <ac:picMk id="33" creationId="{36338918-A91B-48A1-92EE-DF99765F83C7}"/>
          </ac:picMkLst>
        </pc:picChg>
        <pc:picChg chg="add del mod">
          <ac:chgData name="Vincent Kharsyad [Chillibreeze]" userId="7b5f9e7a-8cb6-4e11-ad75-0918041740fe" providerId="ADAL" clId="{9D6E1852-5810-4B53-BDF5-FE17275CA0ED}" dt="2020-07-13T11:30:33.960" v="922" actId="478"/>
          <ac:picMkLst>
            <pc:docMk/>
            <pc:sldMk cId="171335779" sldId="1953"/>
            <ac:picMk id="34" creationId="{F720FAA6-BE86-4107-A596-B8A588CB2305}"/>
          </ac:picMkLst>
        </pc:picChg>
        <pc:picChg chg="del mod topLvl">
          <ac:chgData name="Vincent Kharsyad [Chillibreeze]" userId="7b5f9e7a-8cb6-4e11-ad75-0918041740fe" providerId="ADAL" clId="{9D6E1852-5810-4B53-BDF5-FE17275CA0ED}" dt="2020-07-13T07:11:00.392" v="362" actId="478"/>
          <ac:picMkLst>
            <pc:docMk/>
            <pc:sldMk cId="171335779" sldId="1953"/>
            <ac:picMk id="40" creationId="{2701CD0E-6E55-49B2-811D-5BF25B6394AC}"/>
          </ac:picMkLst>
        </pc:picChg>
        <pc:picChg chg="add del mod topLvl">
          <ac:chgData name="Vincent Kharsyad [Chillibreeze]" userId="7b5f9e7a-8cb6-4e11-ad75-0918041740fe" providerId="ADAL" clId="{9D6E1852-5810-4B53-BDF5-FE17275CA0ED}" dt="2020-07-13T07:10:29.640" v="356" actId="478"/>
          <ac:picMkLst>
            <pc:docMk/>
            <pc:sldMk cId="171335779" sldId="1953"/>
            <ac:picMk id="66" creationId="{335198C0-7427-4D67-A564-02C489B07341}"/>
          </ac:picMkLst>
        </pc:picChg>
        <pc:picChg chg="del mod topLvl">
          <ac:chgData name="Vincent Kharsyad [Chillibreeze]" userId="7b5f9e7a-8cb6-4e11-ad75-0918041740fe" providerId="ADAL" clId="{9D6E1852-5810-4B53-BDF5-FE17275CA0ED}" dt="2020-07-13T07:10:28.799" v="355" actId="478"/>
          <ac:picMkLst>
            <pc:docMk/>
            <pc:sldMk cId="171335779" sldId="1953"/>
            <ac:picMk id="69" creationId="{7F2D3E5D-6F4B-4E01-A3A3-7D7478B26454}"/>
          </ac:picMkLst>
        </pc:picChg>
        <pc:picChg chg="del mod topLvl">
          <ac:chgData name="Vincent Kharsyad [Chillibreeze]" userId="7b5f9e7a-8cb6-4e11-ad75-0918041740fe" providerId="ADAL" clId="{9D6E1852-5810-4B53-BDF5-FE17275CA0ED}" dt="2020-07-13T07:10:28.799" v="355" actId="478"/>
          <ac:picMkLst>
            <pc:docMk/>
            <pc:sldMk cId="171335779" sldId="1953"/>
            <ac:picMk id="72" creationId="{34D6143F-5B69-415E-BE4A-6D5FBCBD30B0}"/>
          </ac:picMkLst>
        </pc:picChg>
        <pc:picChg chg="mod topLvl">
          <ac:chgData name="Vincent Kharsyad [Chillibreeze]" userId="7b5f9e7a-8cb6-4e11-ad75-0918041740fe" providerId="ADAL" clId="{9D6E1852-5810-4B53-BDF5-FE17275CA0ED}" dt="2020-07-13T11:29:00.749" v="895" actId="164"/>
          <ac:picMkLst>
            <pc:docMk/>
            <pc:sldMk cId="171335779" sldId="1953"/>
            <ac:picMk id="73" creationId="{9CA53F9F-454A-4B66-96FF-2EF97378BC0E}"/>
          </ac:picMkLst>
        </pc:picChg>
        <pc:picChg chg="del mod topLvl">
          <ac:chgData name="Vincent Kharsyad [Chillibreeze]" userId="7b5f9e7a-8cb6-4e11-ad75-0918041740fe" providerId="ADAL" clId="{9D6E1852-5810-4B53-BDF5-FE17275CA0ED}" dt="2020-07-13T07:10:28.799" v="355" actId="478"/>
          <ac:picMkLst>
            <pc:docMk/>
            <pc:sldMk cId="171335779" sldId="1953"/>
            <ac:picMk id="75" creationId="{83F5B5CC-585C-4D87-9051-572010E311A5}"/>
          </ac:picMkLst>
        </pc:picChg>
        <pc:picChg chg="mod topLvl">
          <ac:chgData name="Vincent Kharsyad [Chillibreeze]" userId="7b5f9e7a-8cb6-4e11-ad75-0918041740fe" providerId="ADAL" clId="{9D6E1852-5810-4B53-BDF5-FE17275CA0ED}" dt="2020-07-13T11:28:59.465" v="894" actId="164"/>
          <ac:picMkLst>
            <pc:docMk/>
            <pc:sldMk cId="171335779" sldId="1953"/>
            <ac:picMk id="76" creationId="{FC958C66-40B6-4DEF-B8E1-2C6329BCE390}"/>
          </ac:picMkLst>
        </pc:picChg>
        <pc:picChg chg="mod topLvl">
          <ac:chgData name="Vincent Kharsyad [Chillibreeze]" userId="7b5f9e7a-8cb6-4e11-ad75-0918041740fe" providerId="ADAL" clId="{9D6E1852-5810-4B53-BDF5-FE17275CA0ED}" dt="2020-07-13T11:28:56.900" v="892" actId="164"/>
          <ac:picMkLst>
            <pc:docMk/>
            <pc:sldMk cId="171335779" sldId="1953"/>
            <ac:picMk id="77" creationId="{E952FAD9-A74C-47DA-B652-2B8DACE05B00}"/>
          </ac:picMkLst>
        </pc:picChg>
        <pc:picChg chg="mod topLvl">
          <ac:chgData name="Vincent Kharsyad [Chillibreeze]" userId="7b5f9e7a-8cb6-4e11-ad75-0918041740fe" providerId="ADAL" clId="{9D6E1852-5810-4B53-BDF5-FE17275CA0ED}" dt="2020-07-13T11:28:58.120" v="893" actId="164"/>
          <ac:picMkLst>
            <pc:docMk/>
            <pc:sldMk cId="171335779" sldId="1953"/>
            <ac:picMk id="78" creationId="{B08B272F-26DB-4E84-A4D1-5B9E9BCCCA7C}"/>
          </ac:picMkLst>
        </pc:picChg>
        <pc:cxnChg chg="mod">
          <ac:chgData name="Vincent Kharsyad [Chillibreeze]" userId="7b5f9e7a-8cb6-4e11-ad75-0918041740fe" providerId="ADAL" clId="{9D6E1852-5810-4B53-BDF5-FE17275CA0ED}" dt="2020-07-13T11:34:14.438" v="1032" actId="13244"/>
          <ac:cxnSpMkLst>
            <pc:docMk/>
            <pc:sldMk cId="171335779" sldId="1953"/>
            <ac:cxnSpMk id="62" creationId="{F117B5C7-B860-4392-92D6-75760243CA23}"/>
          </ac:cxnSpMkLst>
        </pc:cxnChg>
        <pc:cxnChg chg="mod">
          <ac:chgData name="Vincent Kharsyad [Chillibreeze]" userId="7b5f9e7a-8cb6-4e11-ad75-0918041740fe" providerId="ADAL" clId="{9D6E1852-5810-4B53-BDF5-FE17275CA0ED}" dt="2020-07-13T11:34:28.039" v="1034" actId="13244"/>
          <ac:cxnSpMkLst>
            <pc:docMk/>
            <pc:sldMk cId="171335779" sldId="1953"/>
            <ac:cxnSpMk id="63" creationId="{5BBF24D0-E593-4C66-98BC-259F10749C85}"/>
          </ac:cxnSpMkLst>
        </pc:cxnChg>
        <pc:cxnChg chg="mod">
          <ac:chgData name="Vincent Kharsyad [Chillibreeze]" userId="7b5f9e7a-8cb6-4e11-ad75-0918041740fe" providerId="ADAL" clId="{9D6E1852-5810-4B53-BDF5-FE17275CA0ED}" dt="2020-07-13T11:34:43.982" v="1036" actId="13244"/>
          <ac:cxnSpMkLst>
            <pc:docMk/>
            <pc:sldMk cId="171335779" sldId="1953"/>
            <ac:cxnSpMk id="64" creationId="{7E19AA60-EAFD-4E4A-B8F6-EFCE82CB481E}"/>
          </ac:cxnSpMkLst>
        </pc:cxnChg>
      </pc:sldChg>
      <pc:sldChg chg="modSp mod">
        <pc:chgData name="Vincent Kharsyad [Chillibreeze]" userId="7b5f9e7a-8cb6-4e11-ad75-0918041740fe" providerId="ADAL" clId="{9D6E1852-5810-4B53-BDF5-FE17275CA0ED}" dt="2020-07-13T11:36:04.384" v="1041" actId="13244"/>
        <pc:sldMkLst>
          <pc:docMk/>
          <pc:sldMk cId="1152369062" sldId="1954"/>
        </pc:sldMkLst>
        <pc:spChg chg="mod">
          <ac:chgData name="Vincent Kharsyad [Chillibreeze]" userId="7b5f9e7a-8cb6-4e11-ad75-0918041740fe" providerId="ADAL" clId="{9D6E1852-5810-4B53-BDF5-FE17275CA0ED}" dt="2020-07-13T11:35:54.545" v="1040" actId="20577"/>
          <ac:spMkLst>
            <pc:docMk/>
            <pc:sldMk cId="1152369062" sldId="1954"/>
            <ac:spMk id="2" creationId="{9C2A0824-75AF-4CCD-882B-00DFB808DB39}"/>
          </ac:spMkLst>
        </pc:spChg>
        <pc:spChg chg="mod">
          <ac:chgData name="Vincent Kharsyad [Chillibreeze]" userId="7b5f9e7a-8cb6-4e11-ad75-0918041740fe" providerId="ADAL" clId="{9D6E1852-5810-4B53-BDF5-FE17275CA0ED}" dt="2020-07-13T11:36:04.384" v="1041" actId="13244"/>
          <ac:spMkLst>
            <pc:docMk/>
            <pc:sldMk cId="1152369062" sldId="1954"/>
            <ac:spMk id="8" creationId="{5E94CDCD-74E2-48A5-BD23-064F4FA6B15D}"/>
          </ac:spMkLst>
        </pc:spChg>
      </pc:sldChg>
      <pc:sldChg chg="addSp delSp modSp mod">
        <pc:chgData name="Vincent Kharsyad [Chillibreeze]" userId="7b5f9e7a-8cb6-4e11-ad75-0918041740fe" providerId="ADAL" clId="{9D6E1852-5810-4B53-BDF5-FE17275CA0ED}" dt="2020-07-13T11:44:51.014" v="1079" actId="13244"/>
        <pc:sldMkLst>
          <pc:docMk/>
          <pc:sldMk cId="3465062807" sldId="1955"/>
        </pc:sldMkLst>
        <pc:spChg chg="mod">
          <ac:chgData name="Vincent Kharsyad [Chillibreeze]" userId="7b5f9e7a-8cb6-4e11-ad75-0918041740fe" providerId="ADAL" clId="{9D6E1852-5810-4B53-BDF5-FE17275CA0ED}" dt="2020-07-13T11:44:36.344" v="1076" actId="13244"/>
          <ac:spMkLst>
            <pc:docMk/>
            <pc:sldMk cId="3465062807" sldId="1955"/>
            <ac:spMk id="2" creationId="{68B12007-FCCD-4CDA-A543-235BA547DD2F}"/>
          </ac:spMkLst>
        </pc:spChg>
        <pc:spChg chg="mod topLvl">
          <ac:chgData name="Vincent Kharsyad [Chillibreeze]" userId="7b5f9e7a-8cb6-4e11-ad75-0918041740fe" providerId="ADAL" clId="{9D6E1852-5810-4B53-BDF5-FE17275CA0ED}" dt="2020-07-13T11:36:59.567" v="1047" actId="164"/>
          <ac:spMkLst>
            <pc:docMk/>
            <pc:sldMk cId="3465062807" sldId="1955"/>
            <ac:spMk id="11" creationId="{A2FDF503-3C34-48FB-9303-E27BB5B2C795}"/>
          </ac:spMkLst>
        </pc:spChg>
        <pc:spChg chg="mod topLvl">
          <ac:chgData name="Vincent Kharsyad [Chillibreeze]" userId="7b5f9e7a-8cb6-4e11-ad75-0918041740fe" providerId="ADAL" clId="{9D6E1852-5810-4B53-BDF5-FE17275CA0ED}" dt="2020-07-13T11:36:59.567" v="1047" actId="164"/>
          <ac:spMkLst>
            <pc:docMk/>
            <pc:sldMk cId="3465062807" sldId="1955"/>
            <ac:spMk id="12" creationId="{08B1A97A-71FC-4D66-A635-4CEEF00B82AE}"/>
          </ac:spMkLst>
        </pc:spChg>
        <pc:spChg chg="mod topLvl">
          <ac:chgData name="Vincent Kharsyad [Chillibreeze]" userId="7b5f9e7a-8cb6-4e11-ad75-0918041740fe" providerId="ADAL" clId="{9D6E1852-5810-4B53-BDF5-FE17275CA0ED}" dt="2020-07-13T11:37:02.692" v="1048" actId="164"/>
          <ac:spMkLst>
            <pc:docMk/>
            <pc:sldMk cId="3465062807" sldId="1955"/>
            <ac:spMk id="16" creationId="{8CA9848E-D784-4943-939B-C8A0A02C7E19}"/>
          </ac:spMkLst>
        </pc:spChg>
        <pc:spChg chg="mod topLvl">
          <ac:chgData name="Vincent Kharsyad [Chillibreeze]" userId="7b5f9e7a-8cb6-4e11-ad75-0918041740fe" providerId="ADAL" clId="{9D6E1852-5810-4B53-BDF5-FE17275CA0ED}" dt="2020-07-13T11:37:02.692" v="1048" actId="164"/>
          <ac:spMkLst>
            <pc:docMk/>
            <pc:sldMk cId="3465062807" sldId="1955"/>
            <ac:spMk id="17" creationId="{2283791C-4775-49CD-B05C-B80397CE8F0E}"/>
          </ac:spMkLst>
        </pc:spChg>
        <pc:spChg chg="mod">
          <ac:chgData name="Vincent Kharsyad [Chillibreeze]" userId="7b5f9e7a-8cb6-4e11-ad75-0918041740fe" providerId="ADAL" clId="{9D6E1852-5810-4B53-BDF5-FE17275CA0ED}" dt="2020-07-13T11:44:39.104" v="1077" actId="13244"/>
          <ac:spMkLst>
            <pc:docMk/>
            <pc:sldMk cId="3465062807" sldId="1955"/>
            <ac:spMk id="41" creationId="{A4074F7C-1E1E-4F5D-9519-7F86A3B789E3}"/>
          </ac:spMkLst>
        </pc:spChg>
        <pc:spChg chg="mod">
          <ac:chgData name="Vincent Kharsyad [Chillibreeze]" userId="7b5f9e7a-8cb6-4e11-ad75-0918041740fe" providerId="ADAL" clId="{9D6E1852-5810-4B53-BDF5-FE17275CA0ED}" dt="2020-07-13T06:04:19.435" v="230" actId="12789"/>
          <ac:spMkLst>
            <pc:docMk/>
            <pc:sldMk cId="3465062807" sldId="1955"/>
            <ac:spMk id="42" creationId="{9CE875F1-2051-44B5-9DF5-7372FB48BFA8}"/>
          </ac:spMkLst>
        </pc:spChg>
        <pc:spChg chg="mod">
          <ac:chgData name="Vincent Kharsyad [Chillibreeze]" userId="7b5f9e7a-8cb6-4e11-ad75-0918041740fe" providerId="ADAL" clId="{9D6E1852-5810-4B53-BDF5-FE17275CA0ED}" dt="2020-07-13T11:37:40.765" v="1055" actId="554"/>
          <ac:spMkLst>
            <pc:docMk/>
            <pc:sldMk cId="3465062807" sldId="1955"/>
            <ac:spMk id="47" creationId="{C2951750-11E6-4E4B-858C-80DD884D9232}"/>
          </ac:spMkLst>
        </pc:spChg>
        <pc:grpChg chg="del">
          <ac:chgData name="Vincent Kharsyad [Chillibreeze]" userId="7b5f9e7a-8cb6-4e11-ad75-0918041740fe" providerId="ADAL" clId="{9D6E1852-5810-4B53-BDF5-FE17275CA0ED}" dt="2020-07-13T05:18:39.205" v="148" actId="165"/>
          <ac:grpSpMkLst>
            <pc:docMk/>
            <pc:sldMk cId="3465062807" sldId="1955"/>
            <ac:grpSpMk id="3" creationId="{62EFB8DF-AB51-40FB-A2F1-4CD5D263FC59}"/>
          </ac:grpSpMkLst>
        </pc:grpChg>
        <pc:grpChg chg="add del mod">
          <ac:chgData name="Vincent Kharsyad [Chillibreeze]" userId="7b5f9e7a-8cb6-4e11-ad75-0918041740fe" providerId="ADAL" clId="{9D6E1852-5810-4B53-BDF5-FE17275CA0ED}" dt="2020-07-13T11:37:07.383" v="1049" actId="21"/>
          <ac:grpSpMkLst>
            <pc:docMk/>
            <pc:sldMk cId="3465062807" sldId="1955"/>
            <ac:grpSpMk id="3" creationId="{9FC3000A-57CB-4EEA-B514-B354AAAB97E4}"/>
          </ac:grpSpMkLst>
        </pc:grpChg>
        <pc:grpChg chg="add del mod">
          <ac:chgData name="Vincent Kharsyad [Chillibreeze]" userId="7b5f9e7a-8cb6-4e11-ad75-0918041740fe" providerId="ADAL" clId="{9D6E1852-5810-4B53-BDF5-FE17275CA0ED}" dt="2020-07-13T05:28:27.403" v="209" actId="165"/>
          <ac:grpSpMkLst>
            <pc:docMk/>
            <pc:sldMk cId="3465062807" sldId="1955"/>
            <ac:grpSpMk id="4" creationId="{79A3E21C-03F1-4618-B508-FCC27D73DC36}"/>
          </ac:grpSpMkLst>
        </pc:grpChg>
        <pc:grpChg chg="add del mod">
          <ac:chgData name="Vincent Kharsyad [Chillibreeze]" userId="7b5f9e7a-8cb6-4e11-ad75-0918041740fe" providerId="ADAL" clId="{9D6E1852-5810-4B53-BDF5-FE17275CA0ED}" dt="2020-07-13T11:37:27.438" v="1052" actId="21"/>
          <ac:grpSpMkLst>
            <pc:docMk/>
            <pc:sldMk cId="3465062807" sldId="1955"/>
            <ac:grpSpMk id="4" creationId="{C682CEE3-CA9D-46A9-967B-6B336DD7F61D}"/>
          </ac:grpSpMkLst>
        </pc:grpChg>
        <pc:grpChg chg="add del mod">
          <ac:chgData name="Vincent Kharsyad [Chillibreeze]" userId="7b5f9e7a-8cb6-4e11-ad75-0918041740fe" providerId="ADAL" clId="{9D6E1852-5810-4B53-BDF5-FE17275CA0ED}" dt="2020-07-13T11:36:43.792" v="1043" actId="165"/>
          <ac:grpSpMkLst>
            <pc:docMk/>
            <pc:sldMk cId="3465062807" sldId="1955"/>
            <ac:grpSpMk id="5" creationId="{C5F30B10-7AF0-4CB0-A617-1CB9BE731D5A}"/>
          </ac:grpSpMkLst>
        </pc:grpChg>
        <pc:grpChg chg="add del mod">
          <ac:chgData name="Vincent Kharsyad [Chillibreeze]" userId="7b5f9e7a-8cb6-4e11-ad75-0918041740fe" providerId="ADAL" clId="{9D6E1852-5810-4B53-BDF5-FE17275CA0ED}" dt="2020-07-13T07:14:57.673" v="465" actId="165"/>
          <ac:grpSpMkLst>
            <pc:docMk/>
            <pc:sldMk cId="3465062807" sldId="1955"/>
            <ac:grpSpMk id="6" creationId="{A8A3080F-0F24-495E-AB1D-FEAE8007E958}"/>
          </ac:grpSpMkLst>
        </pc:grpChg>
        <pc:grpChg chg="add del mod">
          <ac:chgData name="Vincent Kharsyad [Chillibreeze]" userId="7b5f9e7a-8cb6-4e11-ad75-0918041740fe" providerId="ADAL" clId="{9D6E1852-5810-4B53-BDF5-FE17275CA0ED}" dt="2020-07-13T11:36:41.925" v="1042" actId="165"/>
          <ac:grpSpMkLst>
            <pc:docMk/>
            <pc:sldMk cId="3465062807" sldId="1955"/>
            <ac:grpSpMk id="7" creationId="{7581CADF-C198-44F8-9FA8-33F19F9157F8}"/>
          </ac:grpSpMkLst>
        </pc:grpChg>
        <pc:grpChg chg="del mod topLvl">
          <ac:chgData name="Vincent Kharsyad [Chillibreeze]" userId="7b5f9e7a-8cb6-4e11-ad75-0918041740fe" providerId="ADAL" clId="{9D6E1852-5810-4B53-BDF5-FE17275CA0ED}" dt="2020-07-13T05:18:42.056" v="149" actId="165"/>
          <ac:grpSpMkLst>
            <pc:docMk/>
            <pc:sldMk cId="3465062807" sldId="1955"/>
            <ac:grpSpMk id="10" creationId="{89C55D91-11B6-4B6E-8138-2DFC49DFCA50}"/>
          </ac:grpSpMkLst>
        </pc:grpChg>
        <pc:grpChg chg="del">
          <ac:chgData name="Vincent Kharsyad [Chillibreeze]" userId="7b5f9e7a-8cb6-4e11-ad75-0918041740fe" providerId="ADAL" clId="{9D6E1852-5810-4B53-BDF5-FE17275CA0ED}" dt="2020-07-13T05:18:53.276" v="151" actId="165"/>
          <ac:grpSpMkLst>
            <pc:docMk/>
            <pc:sldMk cId="3465062807" sldId="1955"/>
            <ac:grpSpMk id="13" creationId="{F94EC889-3234-4146-BF18-F975E368761F}"/>
          </ac:grpSpMkLst>
        </pc:grpChg>
        <pc:grpChg chg="del mod topLvl">
          <ac:chgData name="Vincent Kharsyad [Chillibreeze]" userId="7b5f9e7a-8cb6-4e11-ad75-0918041740fe" providerId="ADAL" clId="{9D6E1852-5810-4B53-BDF5-FE17275CA0ED}" dt="2020-07-13T05:18:53.707" v="152" actId="165"/>
          <ac:grpSpMkLst>
            <pc:docMk/>
            <pc:sldMk cId="3465062807" sldId="1955"/>
            <ac:grpSpMk id="14" creationId="{275E01A0-A94D-4523-AEC2-4B13603547D3}"/>
          </ac:grpSpMkLst>
        </pc:grpChg>
        <pc:picChg chg="mod">
          <ac:chgData name="Vincent Kharsyad [Chillibreeze]" userId="7b5f9e7a-8cb6-4e11-ad75-0918041740fe" providerId="ADAL" clId="{9D6E1852-5810-4B53-BDF5-FE17275CA0ED}" dt="2020-07-13T11:44:42.074" v="1078" actId="13244"/>
          <ac:picMkLst>
            <pc:docMk/>
            <pc:sldMk cId="3465062807" sldId="1955"/>
            <ac:picMk id="6" creationId="{D2952871-8C0D-445C-8CE2-49305F446A3F}"/>
          </ac:picMkLst>
        </pc:picChg>
        <pc:picChg chg="mod">
          <ac:chgData name="Vincent Kharsyad [Chillibreeze]" userId="7b5f9e7a-8cb6-4e11-ad75-0918041740fe" providerId="ADAL" clId="{9D6E1852-5810-4B53-BDF5-FE17275CA0ED}" dt="2020-07-13T11:44:51.014" v="1079" actId="13244"/>
          <ac:picMkLst>
            <pc:docMk/>
            <pc:sldMk cId="3465062807" sldId="1955"/>
            <ac:picMk id="8" creationId="{E8B1CEBB-7A56-4C2A-8EAA-E559E5296B70}"/>
          </ac:picMkLst>
        </pc:picChg>
        <pc:picChg chg="mod topLvl">
          <ac:chgData name="Vincent Kharsyad [Chillibreeze]" userId="7b5f9e7a-8cb6-4e11-ad75-0918041740fe" providerId="ADAL" clId="{9D6E1852-5810-4B53-BDF5-FE17275CA0ED}" dt="2020-07-13T11:37:02.692" v="1048" actId="164"/>
          <ac:picMkLst>
            <pc:docMk/>
            <pc:sldMk cId="3465062807" sldId="1955"/>
            <ac:picMk id="15" creationId="{5E5AC98B-9AA1-41DD-B7A0-22BD95D7DB43}"/>
          </ac:picMkLst>
        </pc:picChg>
        <pc:picChg chg="add del mod">
          <ac:chgData name="Vincent Kharsyad [Chillibreeze]" userId="7b5f9e7a-8cb6-4e11-ad75-0918041740fe" providerId="ADAL" clId="{9D6E1852-5810-4B53-BDF5-FE17275CA0ED}" dt="2020-07-13T11:40:02.641" v="1062" actId="478"/>
          <ac:picMkLst>
            <pc:docMk/>
            <pc:sldMk cId="3465062807" sldId="1955"/>
            <ac:picMk id="18" creationId="{0AE9FDA4-7E92-46E5-8A8E-1F87841CFE8C}"/>
          </ac:picMkLst>
        </pc:picChg>
        <pc:picChg chg="add del mod">
          <ac:chgData name="Vincent Kharsyad [Chillibreeze]" userId="7b5f9e7a-8cb6-4e11-ad75-0918041740fe" providerId="ADAL" clId="{9D6E1852-5810-4B53-BDF5-FE17275CA0ED}" dt="2020-07-13T11:44:27.424" v="1075" actId="478"/>
          <ac:picMkLst>
            <pc:docMk/>
            <pc:sldMk cId="3465062807" sldId="1955"/>
            <ac:picMk id="19" creationId="{3A516ED2-67C0-4DDC-9A5B-DCA3B1F1209A}"/>
          </ac:picMkLst>
        </pc:picChg>
        <pc:picChg chg="mod topLvl">
          <ac:chgData name="Vincent Kharsyad [Chillibreeze]" userId="7b5f9e7a-8cb6-4e11-ad75-0918041740fe" providerId="ADAL" clId="{9D6E1852-5810-4B53-BDF5-FE17275CA0ED}" dt="2020-07-13T11:36:59.567" v="1047" actId="164"/>
          <ac:picMkLst>
            <pc:docMk/>
            <pc:sldMk cId="3465062807" sldId="1955"/>
            <ac:picMk id="48" creationId="{0561A074-3DFA-4B83-B942-99CF3D7AF4DE}"/>
          </ac:picMkLst>
        </pc:picChg>
        <pc:cxnChg chg="mod">
          <ac:chgData name="Vincent Kharsyad [Chillibreeze]" userId="7b5f9e7a-8cb6-4e11-ad75-0918041740fe" providerId="ADAL" clId="{9D6E1852-5810-4B53-BDF5-FE17275CA0ED}" dt="2020-07-13T07:15:19.311" v="469" actId="465"/>
          <ac:cxnSpMkLst>
            <pc:docMk/>
            <pc:sldMk cId="3465062807" sldId="1955"/>
            <ac:cxnSpMk id="37" creationId="{6EBEA3CE-073E-44F2-97C7-0BC8CD1C2702}"/>
          </ac:cxnSpMkLst>
        </pc:cxnChg>
      </pc:sldChg>
      <pc:sldChg chg="addSp delSp modSp mod">
        <pc:chgData name="Vincent Kharsyad [Chillibreeze]" userId="7b5f9e7a-8cb6-4e11-ad75-0918041740fe" providerId="ADAL" clId="{9D6E1852-5810-4B53-BDF5-FE17275CA0ED}" dt="2020-07-13T11:45:17.723" v="1083" actId="13244"/>
        <pc:sldMkLst>
          <pc:docMk/>
          <pc:sldMk cId="1065413711" sldId="1956"/>
        </pc:sldMkLst>
        <pc:spChg chg="add del mod ord">
          <ac:chgData name="Vincent Kharsyad [Chillibreeze]" userId="7b5f9e7a-8cb6-4e11-ad75-0918041740fe" providerId="ADAL" clId="{9D6E1852-5810-4B53-BDF5-FE17275CA0ED}" dt="2020-07-13T07:01:57.472" v="290" actId="478"/>
          <ac:spMkLst>
            <pc:docMk/>
            <pc:sldMk cId="1065413711" sldId="1956"/>
            <ac:spMk id="5" creationId="{71F9D620-12E4-4380-9CF7-0570AAD5E922}"/>
          </ac:spMkLst>
        </pc:spChg>
        <pc:picChg chg="mod">
          <ac:chgData name="Vincent Kharsyad [Chillibreeze]" userId="7b5f9e7a-8cb6-4e11-ad75-0918041740fe" providerId="ADAL" clId="{9D6E1852-5810-4B53-BDF5-FE17275CA0ED}" dt="2020-07-13T11:45:17.723" v="1083" actId="13244"/>
          <ac:picMkLst>
            <pc:docMk/>
            <pc:sldMk cId="1065413711" sldId="1956"/>
            <ac:picMk id="6" creationId="{0591EBCD-7950-4A5C-9031-691E1ADDF00E}"/>
          </ac:picMkLst>
        </pc:picChg>
      </pc:sldChg>
      <pc:sldChg chg="del">
        <pc:chgData name="Vincent Kharsyad [Chillibreeze]" userId="7b5f9e7a-8cb6-4e11-ad75-0918041740fe" providerId="ADAL" clId="{9D6E1852-5810-4B53-BDF5-FE17275CA0ED}" dt="2020-07-13T04:39:21.806" v="29" actId="47"/>
        <pc:sldMkLst>
          <pc:docMk/>
          <pc:sldMk cId="839292834" sldId="1957"/>
        </pc:sldMkLst>
      </pc:sldChg>
    </pc:docChg>
  </pc:docChgLst>
  <pc:docChgLst>
    <pc:chgData name="Bantei Sangma [Chillibreeze]" userId="e7070ce9-26a8-4d3a-99f4-f2ac4567d4da" providerId="ADAL" clId="{F2C4BB5F-38BF-4B7A-AF0B-55D83BBDADF7}"/>
    <pc:docChg chg="undo redo custSel modSld">
      <pc:chgData name="Bantei Sangma [Chillibreeze]" userId="e7070ce9-26a8-4d3a-99f4-f2ac4567d4da" providerId="ADAL" clId="{F2C4BB5F-38BF-4B7A-AF0B-55D83BBDADF7}" dt="2020-07-13T11:57:17.021" v="1556" actId="962"/>
      <pc:docMkLst>
        <pc:docMk/>
      </pc:docMkLst>
      <pc:sldChg chg="addSp delSp modSp mod">
        <pc:chgData name="Bantei Sangma [Chillibreeze]" userId="e7070ce9-26a8-4d3a-99f4-f2ac4567d4da" providerId="ADAL" clId="{F2C4BB5F-38BF-4B7A-AF0B-55D83BBDADF7}" dt="2020-07-13T11:36:27.626" v="1167" actId="962"/>
        <pc:sldMkLst>
          <pc:docMk/>
          <pc:sldMk cId="1548455647" sldId="1494"/>
        </pc:sldMkLst>
        <pc:spChg chg="add del mod">
          <ac:chgData name="Bantei Sangma [Chillibreeze]" userId="e7070ce9-26a8-4d3a-99f4-f2ac4567d4da" providerId="ADAL" clId="{F2C4BB5F-38BF-4B7A-AF0B-55D83BBDADF7}" dt="2020-07-13T10:51:26.161" v="228" actId="338"/>
          <ac:spMkLst>
            <pc:docMk/>
            <pc:sldMk cId="1548455647" sldId="1494"/>
            <ac:spMk id="2" creationId="{68B12007-FCCD-4CDA-A543-235BA547DD2F}"/>
          </ac:spMkLst>
        </pc:spChg>
        <pc:spChg chg="del mod">
          <ac:chgData name="Bantei Sangma [Chillibreeze]" userId="e7070ce9-26a8-4d3a-99f4-f2ac4567d4da" providerId="ADAL" clId="{F2C4BB5F-38BF-4B7A-AF0B-55D83BBDADF7}" dt="2020-07-13T10:53:52.366" v="279" actId="21"/>
          <ac:spMkLst>
            <pc:docMk/>
            <pc:sldMk cId="1548455647" sldId="1494"/>
            <ac:spMk id="3" creationId="{F3B47DCC-CF95-4340-97F5-8B4D3A86191F}"/>
          </ac:spMkLst>
        </pc:spChg>
        <pc:spChg chg="mod topLvl">
          <ac:chgData name="Bantei Sangma [Chillibreeze]" userId="e7070ce9-26a8-4d3a-99f4-f2ac4567d4da" providerId="ADAL" clId="{F2C4BB5F-38BF-4B7A-AF0B-55D83BBDADF7}" dt="2020-07-13T10:53:34.258" v="277" actId="552"/>
          <ac:spMkLst>
            <pc:docMk/>
            <pc:sldMk cId="1548455647" sldId="1494"/>
            <ac:spMk id="5" creationId="{641CD2AA-EA1F-48DF-8A3F-74E58C3D6865}"/>
          </ac:spMkLst>
        </pc:spChg>
        <pc:spChg chg="mod topLvl">
          <ac:chgData name="Bantei Sangma [Chillibreeze]" userId="e7070ce9-26a8-4d3a-99f4-f2ac4567d4da" providerId="ADAL" clId="{F2C4BB5F-38BF-4B7A-AF0B-55D83BBDADF7}" dt="2020-07-13T10:53:00.032" v="270" actId="164"/>
          <ac:spMkLst>
            <pc:docMk/>
            <pc:sldMk cId="1548455647" sldId="1494"/>
            <ac:spMk id="6" creationId="{CB2D4332-EB49-459A-8F97-078C7307ED5E}"/>
          </ac:spMkLst>
        </pc:spChg>
        <pc:spChg chg="del mod">
          <ac:chgData name="Bantei Sangma [Chillibreeze]" userId="e7070ce9-26a8-4d3a-99f4-f2ac4567d4da" providerId="ADAL" clId="{F2C4BB5F-38BF-4B7A-AF0B-55D83BBDADF7}" dt="2020-07-13T10:54:19.171" v="292" actId="21"/>
          <ac:spMkLst>
            <pc:docMk/>
            <pc:sldMk cId="1548455647" sldId="1494"/>
            <ac:spMk id="8" creationId="{3D966DCD-B749-4593-8793-BCD1FCE8E548}"/>
          </ac:spMkLst>
        </pc:spChg>
        <pc:spChg chg="del mod topLvl">
          <ac:chgData name="Bantei Sangma [Chillibreeze]" userId="e7070ce9-26a8-4d3a-99f4-f2ac4567d4da" providerId="ADAL" clId="{F2C4BB5F-38BF-4B7A-AF0B-55D83BBDADF7}" dt="2020-07-13T10:51:55.223" v="238" actId="478"/>
          <ac:spMkLst>
            <pc:docMk/>
            <pc:sldMk cId="1548455647" sldId="1494"/>
            <ac:spMk id="10" creationId="{CDDD3CE2-8584-4549-962A-5FF990D34699}"/>
          </ac:spMkLst>
        </pc:spChg>
        <pc:spChg chg="mod topLvl">
          <ac:chgData name="Bantei Sangma [Chillibreeze]" userId="e7070ce9-26a8-4d3a-99f4-f2ac4567d4da" providerId="ADAL" clId="{F2C4BB5F-38BF-4B7A-AF0B-55D83BBDADF7}" dt="2020-07-13T10:53:00.032" v="270" actId="164"/>
          <ac:spMkLst>
            <pc:docMk/>
            <pc:sldMk cId="1548455647" sldId="1494"/>
            <ac:spMk id="11" creationId="{1FCAA6B6-B13A-4A92-ABD7-EFD292804C62}"/>
          </ac:spMkLst>
        </pc:spChg>
        <pc:spChg chg="add del mod">
          <ac:chgData name="Bantei Sangma [Chillibreeze]" userId="e7070ce9-26a8-4d3a-99f4-f2ac4567d4da" providerId="ADAL" clId="{F2C4BB5F-38BF-4B7A-AF0B-55D83BBDADF7}" dt="2020-07-13T06:15:19.613" v="227" actId="21"/>
          <ac:spMkLst>
            <pc:docMk/>
            <pc:sldMk cId="1548455647" sldId="1494"/>
            <ac:spMk id="14" creationId="{60E54D36-22C6-47BB-9AD5-5CB236ED8270}"/>
          </ac:spMkLst>
        </pc:spChg>
        <pc:spChg chg="add del mod">
          <ac:chgData name="Bantei Sangma [Chillibreeze]" userId="e7070ce9-26a8-4d3a-99f4-f2ac4567d4da" providerId="ADAL" clId="{F2C4BB5F-38BF-4B7A-AF0B-55D83BBDADF7}" dt="2020-07-13T06:15:19.125" v="226"/>
          <ac:spMkLst>
            <pc:docMk/>
            <pc:sldMk cId="1548455647" sldId="1494"/>
            <ac:spMk id="16" creationId="{AE9F5A9D-74F3-49C7-8721-32DC56FBB542}"/>
          </ac:spMkLst>
        </pc:spChg>
        <pc:spChg chg="add del">
          <ac:chgData name="Bantei Sangma [Chillibreeze]" userId="e7070ce9-26a8-4d3a-99f4-f2ac4567d4da" providerId="ADAL" clId="{F2C4BB5F-38BF-4B7A-AF0B-55D83BBDADF7}" dt="2020-07-13T10:54:14.090" v="288" actId="21"/>
          <ac:spMkLst>
            <pc:docMk/>
            <pc:sldMk cId="1548455647" sldId="1494"/>
            <ac:spMk id="19" creationId="{3363F6D9-3B9B-4D5E-A905-87A74C323869}"/>
          </ac:spMkLst>
        </pc:spChg>
        <pc:spChg chg="add">
          <ac:chgData name="Bantei Sangma [Chillibreeze]" userId="e7070ce9-26a8-4d3a-99f4-f2ac4567d4da" providerId="ADAL" clId="{F2C4BB5F-38BF-4B7A-AF0B-55D83BBDADF7}" dt="2020-07-13T10:54:14.559" v="289" actId="22"/>
          <ac:spMkLst>
            <pc:docMk/>
            <pc:sldMk cId="1548455647" sldId="1494"/>
            <ac:spMk id="23" creationId="{B59AB718-3D54-45FE-84E5-567C10595888}"/>
          </ac:spMkLst>
        </pc:spChg>
        <pc:spChg chg="add del mod">
          <ac:chgData name="Bantei Sangma [Chillibreeze]" userId="e7070ce9-26a8-4d3a-99f4-f2ac4567d4da" providerId="ADAL" clId="{F2C4BB5F-38BF-4B7A-AF0B-55D83BBDADF7}" dt="2020-07-13T11:08:51.490" v="541" actId="478"/>
          <ac:spMkLst>
            <pc:docMk/>
            <pc:sldMk cId="1548455647" sldId="1494"/>
            <ac:spMk id="27" creationId="{A2E89A87-5B04-41DE-9622-DD7E3B050B5B}"/>
          </ac:spMkLst>
        </pc:spChg>
        <pc:spChg chg="add del mod">
          <ac:chgData name="Bantei Sangma [Chillibreeze]" userId="e7070ce9-26a8-4d3a-99f4-f2ac4567d4da" providerId="ADAL" clId="{F2C4BB5F-38BF-4B7A-AF0B-55D83BBDADF7}" dt="2020-07-13T11:07:35.240" v="501"/>
          <ac:spMkLst>
            <pc:docMk/>
            <pc:sldMk cId="1548455647" sldId="1494"/>
            <ac:spMk id="28" creationId="{01E8951E-561A-4F7B-9143-237E8BCEFEAD}"/>
          </ac:spMkLst>
        </pc:spChg>
        <pc:spChg chg="add del mod">
          <ac:chgData name="Bantei Sangma [Chillibreeze]" userId="e7070ce9-26a8-4d3a-99f4-f2ac4567d4da" providerId="ADAL" clId="{F2C4BB5F-38BF-4B7A-AF0B-55D83BBDADF7}" dt="2020-07-13T11:08:55.619" v="542" actId="478"/>
          <ac:spMkLst>
            <pc:docMk/>
            <pc:sldMk cId="1548455647" sldId="1494"/>
            <ac:spMk id="29" creationId="{65131C11-629B-469B-9164-582714CA1981}"/>
          </ac:spMkLst>
        </pc:spChg>
        <pc:spChg chg="add mod">
          <ac:chgData name="Bantei Sangma [Chillibreeze]" userId="e7070ce9-26a8-4d3a-99f4-f2ac4567d4da" providerId="ADAL" clId="{F2C4BB5F-38BF-4B7A-AF0B-55D83BBDADF7}" dt="2020-07-13T11:12:51.595" v="617" actId="554"/>
          <ac:spMkLst>
            <pc:docMk/>
            <pc:sldMk cId="1548455647" sldId="1494"/>
            <ac:spMk id="30" creationId="{39630528-10D0-4E8E-98AB-2CA331735D4A}"/>
          </ac:spMkLst>
        </pc:spChg>
        <pc:grpChg chg="mod">
          <ac:chgData name="Bantei Sangma [Chillibreeze]" userId="e7070ce9-26a8-4d3a-99f4-f2ac4567d4da" providerId="ADAL" clId="{F2C4BB5F-38BF-4B7A-AF0B-55D83BBDADF7}" dt="2020-07-13T10:51:26.161" v="228" actId="338"/>
          <ac:grpSpMkLst>
            <pc:docMk/>
            <pc:sldMk cId="1548455647" sldId="1494"/>
            <ac:grpSpMk id="1" creationId="{00000000-0000-0000-0000-000000000000}"/>
          </ac:grpSpMkLst>
        </pc:grpChg>
        <pc:grpChg chg="del mod">
          <ac:chgData name="Bantei Sangma [Chillibreeze]" userId="e7070ce9-26a8-4d3a-99f4-f2ac4567d4da" providerId="ADAL" clId="{F2C4BB5F-38BF-4B7A-AF0B-55D83BBDADF7}" dt="2020-07-13T10:51:34.433" v="231" actId="165"/>
          <ac:grpSpMkLst>
            <pc:docMk/>
            <pc:sldMk cId="1548455647" sldId="1494"/>
            <ac:grpSpMk id="4" creationId="{D383E9B6-F492-4063-9610-D4318F88BA8B}"/>
          </ac:grpSpMkLst>
        </pc:grpChg>
        <pc:grpChg chg="add del mod ord">
          <ac:chgData name="Bantei Sangma [Chillibreeze]" userId="e7070ce9-26a8-4d3a-99f4-f2ac4567d4da" providerId="ADAL" clId="{F2C4BB5F-38BF-4B7A-AF0B-55D83BBDADF7}" dt="2020-07-13T10:54:06.664" v="285" actId="478"/>
          <ac:grpSpMkLst>
            <pc:docMk/>
            <pc:sldMk cId="1548455647" sldId="1494"/>
            <ac:grpSpMk id="12" creationId="{224FA07E-12E0-4179-A5C9-684771CDCA06}"/>
          </ac:grpSpMkLst>
        </pc:grpChg>
        <pc:grpChg chg="add del mod">
          <ac:chgData name="Bantei Sangma [Chillibreeze]" userId="e7070ce9-26a8-4d3a-99f4-f2ac4567d4da" providerId="ADAL" clId="{F2C4BB5F-38BF-4B7A-AF0B-55D83BBDADF7}" dt="2020-07-13T10:53:44.170" v="278" actId="478"/>
          <ac:grpSpMkLst>
            <pc:docMk/>
            <pc:sldMk cId="1548455647" sldId="1494"/>
            <ac:grpSpMk id="13" creationId="{AB3CC7D9-A3A1-4A85-9944-4CCEF8B6B5D0}"/>
          </ac:grpSpMkLst>
        </pc:grpChg>
        <pc:picChg chg="mod">
          <ac:chgData name="Bantei Sangma [Chillibreeze]" userId="e7070ce9-26a8-4d3a-99f4-f2ac4567d4da" providerId="ADAL" clId="{F2C4BB5F-38BF-4B7A-AF0B-55D83BBDADF7}" dt="2020-07-13T10:53:34.258" v="277" actId="552"/>
          <ac:picMkLst>
            <pc:docMk/>
            <pc:sldMk cId="1548455647" sldId="1494"/>
            <ac:picMk id="7" creationId="{33FF540A-9F95-4473-AC56-89091A36F1B6}"/>
          </ac:picMkLst>
        </pc:picChg>
        <pc:picChg chg="add del mod ord">
          <ac:chgData name="Bantei Sangma [Chillibreeze]" userId="e7070ce9-26a8-4d3a-99f4-f2ac4567d4da" providerId="ADAL" clId="{F2C4BB5F-38BF-4B7A-AF0B-55D83BBDADF7}" dt="2020-07-13T10:51:26.161" v="228" actId="338"/>
          <ac:picMkLst>
            <pc:docMk/>
            <pc:sldMk cId="1548455647" sldId="1494"/>
            <ac:picMk id="9" creationId="{F386ACF7-2840-47CF-B361-AE38F93C4A27}"/>
          </ac:picMkLst>
        </pc:picChg>
        <pc:picChg chg="add del">
          <ac:chgData name="Bantei Sangma [Chillibreeze]" userId="e7070ce9-26a8-4d3a-99f4-f2ac4567d4da" providerId="ADAL" clId="{F2C4BB5F-38BF-4B7A-AF0B-55D83BBDADF7}" dt="2020-07-13T06:14:17.416" v="219" actId="478"/>
          <ac:picMkLst>
            <pc:docMk/>
            <pc:sldMk cId="1548455647" sldId="1494"/>
            <ac:picMk id="11" creationId="{7ED1C06F-B377-4169-A5A7-06588D8EFBA3}"/>
          </ac:picMkLst>
        </pc:picChg>
        <pc:picChg chg="add del">
          <ac:chgData name="Bantei Sangma [Chillibreeze]" userId="e7070ce9-26a8-4d3a-99f4-f2ac4567d4da" providerId="ADAL" clId="{F2C4BB5F-38BF-4B7A-AF0B-55D83BBDADF7}" dt="2020-07-13T10:53:25.474" v="274" actId="22"/>
          <ac:picMkLst>
            <pc:docMk/>
            <pc:sldMk cId="1548455647" sldId="1494"/>
            <ac:picMk id="15" creationId="{E567A958-E8FF-4BE7-83FB-CD96D8FF4289}"/>
          </ac:picMkLst>
        </pc:picChg>
        <pc:picChg chg="add del mod">
          <ac:chgData name="Bantei Sangma [Chillibreeze]" userId="e7070ce9-26a8-4d3a-99f4-f2ac4567d4da" providerId="ADAL" clId="{F2C4BB5F-38BF-4B7A-AF0B-55D83BBDADF7}" dt="2020-07-13T10:53:55.575" v="281" actId="21"/>
          <ac:picMkLst>
            <pc:docMk/>
            <pc:sldMk cId="1548455647" sldId="1494"/>
            <ac:picMk id="17" creationId="{A82F90EF-6087-4010-8110-CBEB94D29D39}"/>
          </ac:picMkLst>
        </pc:picChg>
        <pc:picChg chg="add del mod">
          <ac:chgData name="Bantei Sangma [Chillibreeze]" userId="e7070ce9-26a8-4d3a-99f4-f2ac4567d4da" providerId="ADAL" clId="{F2C4BB5F-38BF-4B7A-AF0B-55D83BBDADF7}" dt="2020-07-13T10:54:16.049" v="290" actId="21"/>
          <ac:picMkLst>
            <pc:docMk/>
            <pc:sldMk cId="1548455647" sldId="1494"/>
            <ac:picMk id="21" creationId="{B868E4F5-9F6D-4B35-A3B8-18282D33702B}"/>
          </ac:picMkLst>
        </pc:picChg>
        <pc:picChg chg="del mod">
          <ac:chgData name="Bantei Sangma [Chillibreeze]" userId="e7070ce9-26a8-4d3a-99f4-f2ac4567d4da" providerId="ADAL" clId="{F2C4BB5F-38BF-4B7A-AF0B-55D83BBDADF7}" dt="2020-07-13T06:14:05.346" v="217" actId="478"/>
          <ac:picMkLst>
            <pc:docMk/>
            <pc:sldMk cId="1548455647" sldId="1494"/>
            <ac:picMk id="23" creationId="{10C4B06F-5978-4D19-98AE-502DD7F94C4C}"/>
          </ac:picMkLst>
        </pc:picChg>
        <pc:picChg chg="add mod">
          <ac:chgData name="Bantei Sangma [Chillibreeze]" userId="e7070ce9-26a8-4d3a-99f4-f2ac4567d4da" providerId="ADAL" clId="{F2C4BB5F-38BF-4B7A-AF0B-55D83BBDADF7}" dt="2020-07-13T11:36:27.626" v="1167" actId="962"/>
          <ac:picMkLst>
            <pc:docMk/>
            <pc:sldMk cId="1548455647" sldId="1494"/>
            <ac:picMk id="25" creationId="{E12A5BCF-7FF5-4C07-8F63-15E86DCA8356}"/>
          </ac:picMkLst>
        </pc:picChg>
      </pc:sldChg>
      <pc:sldChg chg="addSp delSp modSp mod">
        <pc:chgData name="Bantei Sangma [Chillibreeze]" userId="e7070ce9-26a8-4d3a-99f4-f2ac4567d4da" providerId="ADAL" clId="{F2C4BB5F-38BF-4B7A-AF0B-55D83BBDADF7}" dt="2020-07-13T11:36:55.134" v="1171" actId="962"/>
        <pc:sldMkLst>
          <pc:docMk/>
          <pc:sldMk cId="1605244184" sldId="1495"/>
        </pc:sldMkLst>
        <pc:spChg chg="mod">
          <ac:chgData name="Bantei Sangma [Chillibreeze]" userId="e7070ce9-26a8-4d3a-99f4-f2ac4567d4da" providerId="ADAL" clId="{F2C4BB5F-38BF-4B7A-AF0B-55D83BBDADF7}" dt="2020-07-13T10:54:46.790" v="295" actId="20577"/>
          <ac:spMkLst>
            <pc:docMk/>
            <pc:sldMk cId="1605244184" sldId="1495"/>
            <ac:spMk id="2" creationId="{DDD44CD0-04CA-47E4-83FB-ADD4927E3DA6}"/>
          </ac:spMkLst>
        </pc:spChg>
        <pc:spChg chg="del mod topLvl">
          <ac:chgData name="Bantei Sangma [Chillibreeze]" userId="e7070ce9-26a8-4d3a-99f4-f2ac4567d4da" providerId="ADAL" clId="{F2C4BB5F-38BF-4B7A-AF0B-55D83BBDADF7}" dt="2020-07-13T10:56:09.560" v="320" actId="478"/>
          <ac:spMkLst>
            <pc:docMk/>
            <pc:sldMk cId="1605244184" sldId="1495"/>
            <ac:spMk id="4" creationId="{DECA1615-A502-4887-8763-FDFEF0B36EF7}"/>
          </ac:spMkLst>
        </pc:spChg>
        <pc:spChg chg="mod topLvl">
          <ac:chgData name="Bantei Sangma [Chillibreeze]" userId="e7070ce9-26a8-4d3a-99f4-f2ac4567d4da" providerId="ADAL" clId="{F2C4BB5F-38BF-4B7A-AF0B-55D83BBDADF7}" dt="2020-07-13T10:57:00.884" v="333" actId="164"/>
          <ac:spMkLst>
            <pc:docMk/>
            <pc:sldMk cId="1605244184" sldId="1495"/>
            <ac:spMk id="6" creationId="{C2CA9882-A254-4085-A497-502E948EA412}"/>
          </ac:spMkLst>
        </pc:spChg>
        <pc:spChg chg="add del mod topLvl">
          <ac:chgData name="Bantei Sangma [Chillibreeze]" userId="e7070ce9-26a8-4d3a-99f4-f2ac4567d4da" providerId="ADAL" clId="{F2C4BB5F-38BF-4B7A-AF0B-55D83BBDADF7}" dt="2020-07-13T10:56:20.468" v="325" actId="478"/>
          <ac:spMkLst>
            <pc:docMk/>
            <pc:sldMk cId="1605244184" sldId="1495"/>
            <ac:spMk id="7" creationId="{FD9A472E-0192-4D50-A2B5-E1B2A1709DD2}"/>
          </ac:spMkLst>
        </pc:spChg>
        <pc:spChg chg="mod topLvl">
          <ac:chgData name="Bantei Sangma [Chillibreeze]" userId="e7070ce9-26a8-4d3a-99f4-f2ac4567d4da" providerId="ADAL" clId="{F2C4BB5F-38BF-4B7A-AF0B-55D83BBDADF7}" dt="2020-07-13T10:57:00.884" v="333" actId="164"/>
          <ac:spMkLst>
            <pc:docMk/>
            <pc:sldMk cId="1605244184" sldId="1495"/>
            <ac:spMk id="8" creationId="{63714E74-3D4B-4AF4-9461-5D3770532318}"/>
          </ac:spMkLst>
        </pc:spChg>
        <pc:spChg chg="del mod">
          <ac:chgData name="Bantei Sangma [Chillibreeze]" userId="e7070ce9-26a8-4d3a-99f4-f2ac4567d4da" providerId="ADAL" clId="{F2C4BB5F-38BF-4B7A-AF0B-55D83BBDADF7}" dt="2020-07-13T10:58:07.128" v="349" actId="21"/>
          <ac:spMkLst>
            <pc:docMk/>
            <pc:sldMk cId="1605244184" sldId="1495"/>
            <ac:spMk id="12" creationId="{24DE27D4-4027-4305-B9E5-FB7FB509E1C6}"/>
          </ac:spMkLst>
        </pc:spChg>
        <pc:spChg chg="del mod">
          <ac:chgData name="Bantei Sangma [Chillibreeze]" userId="e7070ce9-26a8-4d3a-99f4-f2ac4567d4da" providerId="ADAL" clId="{F2C4BB5F-38BF-4B7A-AF0B-55D83BBDADF7}" dt="2020-07-13T10:58:14.250" v="355" actId="21"/>
          <ac:spMkLst>
            <pc:docMk/>
            <pc:sldMk cId="1605244184" sldId="1495"/>
            <ac:spMk id="14" creationId="{0B16A038-B0B2-4CB7-BE3F-88B320E6C2BD}"/>
          </ac:spMkLst>
        </pc:spChg>
        <pc:spChg chg="add del mod">
          <ac:chgData name="Bantei Sangma [Chillibreeze]" userId="e7070ce9-26a8-4d3a-99f4-f2ac4567d4da" providerId="ADAL" clId="{F2C4BB5F-38BF-4B7A-AF0B-55D83BBDADF7}" dt="2020-07-13T11:10:01.133" v="575" actId="478"/>
          <ac:spMkLst>
            <pc:docMk/>
            <pc:sldMk cId="1605244184" sldId="1495"/>
            <ac:spMk id="26" creationId="{1B027406-6712-4B86-8A7E-BC264F053FC4}"/>
          </ac:spMkLst>
        </pc:spChg>
        <pc:spChg chg="add del mod">
          <ac:chgData name="Bantei Sangma [Chillibreeze]" userId="e7070ce9-26a8-4d3a-99f4-f2ac4567d4da" providerId="ADAL" clId="{F2C4BB5F-38BF-4B7A-AF0B-55D83BBDADF7}" dt="2020-07-13T11:10:13.491" v="578" actId="478"/>
          <ac:spMkLst>
            <pc:docMk/>
            <pc:sldMk cId="1605244184" sldId="1495"/>
            <ac:spMk id="31" creationId="{9C8EE0DF-5F93-4B0C-9727-E80EAACB03C7}"/>
          </ac:spMkLst>
        </pc:spChg>
        <pc:spChg chg="add mod">
          <ac:chgData name="Bantei Sangma [Chillibreeze]" userId="e7070ce9-26a8-4d3a-99f4-f2ac4567d4da" providerId="ADAL" clId="{F2C4BB5F-38BF-4B7A-AF0B-55D83BBDADF7}" dt="2020-07-13T11:10:59.883" v="606" actId="13244"/>
          <ac:spMkLst>
            <pc:docMk/>
            <pc:sldMk cId="1605244184" sldId="1495"/>
            <ac:spMk id="32" creationId="{F6D3A871-6CEE-464D-AD4F-73DE287EB0D8}"/>
          </ac:spMkLst>
        </pc:spChg>
        <pc:spChg chg="add del mod">
          <ac:chgData name="Bantei Sangma [Chillibreeze]" userId="e7070ce9-26a8-4d3a-99f4-f2ac4567d4da" providerId="ADAL" clId="{F2C4BB5F-38BF-4B7A-AF0B-55D83BBDADF7}" dt="2020-07-13T11:10:32.271" v="600" actId="478"/>
          <ac:spMkLst>
            <pc:docMk/>
            <pc:sldMk cId="1605244184" sldId="1495"/>
            <ac:spMk id="33" creationId="{AC33C059-D244-4990-B06E-FA7A85D370B5}"/>
          </ac:spMkLst>
        </pc:spChg>
        <pc:spChg chg="add del mod">
          <ac:chgData name="Bantei Sangma [Chillibreeze]" userId="e7070ce9-26a8-4d3a-99f4-f2ac4567d4da" providerId="ADAL" clId="{F2C4BB5F-38BF-4B7A-AF0B-55D83BBDADF7}" dt="2020-07-13T11:10:23.296" v="598" actId="478"/>
          <ac:spMkLst>
            <pc:docMk/>
            <pc:sldMk cId="1605244184" sldId="1495"/>
            <ac:spMk id="34" creationId="{BCDE6F67-7CC9-4D7E-BE40-4FCCA16A38C9}"/>
          </ac:spMkLst>
        </pc:spChg>
        <pc:spChg chg="add del mod">
          <ac:chgData name="Bantei Sangma [Chillibreeze]" userId="e7070ce9-26a8-4d3a-99f4-f2ac4567d4da" providerId="ADAL" clId="{F2C4BB5F-38BF-4B7A-AF0B-55D83BBDADF7}" dt="2020-07-13T11:10:51.266" v="605" actId="478"/>
          <ac:spMkLst>
            <pc:docMk/>
            <pc:sldMk cId="1605244184" sldId="1495"/>
            <ac:spMk id="35" creationId="{982F17DB-7DD9-4E03-9B4B-86E52741670D}"/>
          </ac:spMkLst>
        </pc:spChg>
        <pc:spChg chg="add mod">
          <ac:chgData name="Bantei Sangma [Chillibreeze]" userId="e7070ce9-26a8-4d3a-99f4-f2ac4567d4da" providerId="ADAL" clId="{F2C4BB5F-38BF-4B7A-AF0B-55D83BBDADF7}" dt="2020-07-13T11:11:06.318" v="607" actId="13244"/>
          <ac:spMkLst>
            <pc:docMk/>
            <pc:sldMk cId="1605244184" sldId="1495"/>
            <ac:spMk id="36" creationId="{5AF9822C-8F68-49E3-A8B0-B99A5D10B848}"/>
          </ac:spMkLst>
        </pc:spChg>
        <pc:grpChg chg="mod">
          <ac:chgData name="Bantei Sangma [Chillibreeze]" userId="e7070ce9-26a8-4d3a-99f4-f2ac4567d4da" providerId="ADAL" clId="{F2C4BB5F-38BF-4B7A-AF0B-55D83BBDADF7}" dt="2020-07-13T10:54:42.062" v="294" actId="338"/>
          <ac:grpSpMkLst>
            <pc:docMk/>
            <pc:sldMk cId="1605244184" sldId="1495"/>
            <ac:grpSpMk id="1" creationId="{00000000-0000-0000-0000-000000000000}"/>
          </ac:grpSpMkLst>
        </pc:grpChg>
        <pc:grpChg chg="del mod">
          <ac:chgData name="Bantei Sangma [Chillibreeze]" userId="e7070ce9-26a8-4d3a-99f4-f2ac4567d4da" providerId="ADAL" clId="{F2C4BB5F-38BF-4B7A-AF0B-55D83BBDADF7}" dt="2020-07-13T10:55:13.960" v="300" actId="165"/>
          <ac:grpSpMkLst>
            <pc:docMk/>
            <pc:sldMk cId="1605244184" sldId="1495"/>
            <ac:grpSpMk id="3" creationId="{4B54858D-3204-4B98-BDE5-B15C9CFF6F5C}"/>
          </ac:grpSpMkLst>
        </pc:grpChg>
        <pc:grpChg chg="add del mod">
          <ac:chgData name="Bantei Sangma [Chillibreeze]" userId="e7070ce9-26a8-4d3a-99f4-f2ac4567d4da" providerId="ADAL" clId="{F2C4BB5F-38BF-4B7A-AF0B-55D83BBDADF7}" dt="2020-07-13T10:56:39.958" v="329" actId="165"/>
          <ac:grpSpMkLst>
            <pc:docMk/>
            <pc:sldMk cId="1605244184" sldId="1495"/>
            <ac:grpSpMk id="9" creationId="{635FF42B-97AD-4A76-8326-E1BDFA074A98}"/>
          </ac:grpSpMkLst>
        </pc:grpChg>
        <pc:grpChg chg="add mod ord">
          <ac:chgData name="Bantei Sangma [Chillibreeze]" userId="e7070ce9-26a8-4d3a-99f4-f2ac4567d4da" providerId="ADAL" clId="{F2C4BB5F-38BF-4B7A-AF0B-55D83BBDADF7}" dt="2020-07-13T10:57:07.666" v="335" actId="164"/>
          <ac:grpSpMkLst>
            <pc:docMk/>
            <pc:sldMk cId="1605244184" sldId="1495"/>
            <ac:grpSpMk id="13" creationId="{B72E2874-EFCC-4589-95D0-0AED671DFC38}"/>
          </ac:grpSpMkLst>
        </pc:grpChg>
        <pc:grpChg chg="add del mod">
          <ac:chgData name="Bantei Sangma [Chillibreeze]" userId="e7070ce9-26a8-4d3a-99f4-f2ac4567d4da" providerId="ADAL" clId="{F2C4BB5F-38BF-4B7A-AF0B-55D83BBDADF7}" dt="2020-07-13T10:57:27.737" v="339" actId="478"/>
          <ac:grpSpMkLst>
            <pc:docMk/>
            <pc:sldMk cId="1605244184" sldId="1495"/>
            <ac:grpSpMk id="16" creationId="{61F6919E-9099-43C2-96BC-2802CA91E90B}"/>
          </ac:grpSpMkLst>
        </pc:grpChg>
        <pc:grpChg chg="add del mod">
          <ac:chgData name="Bantei Sangma [Chillibreeze]" userId="e7070ce9-26a8-4d3a-99f4-f2ac4567d4da" providerId="ADAL" clId="{F2C4BB5F-38BF-4B7A-AF0B-55D83BBDADF7}" dt="2020-07-13T10:57:50.951" v="346" actId="478"/>
          <ac:grpSpMkLst>
            <pc:docMk/>
            <pc:sldMk cId="1605244184" sldId="1495"/>
            <ac:grpSpMk id="22" creationId="{4718E968-BE0A-41C6-9EEC-7F0D50E73E8F}"/>
          </ac:grpSpMkLst>
        </pc:grpChg>
        <pc:graphicFrameChg chg="mod modGraphic">
          <ac:chgData name="Bantei Sangma [Chillibreeze]" userId="e7070ce9-26a8-4d3a-99f4-f2ac4567d4da" providerId="ADAL" clId="{F2C4BB5F-38BF-4B7A-AF0B-55D83BBDADF7}" dt="2020-07-13T10:58:29.950" v="359" actId="13244"/>
          <ac:graphicFrameMkLst>
            <pc:docMk/>
            <pc:sldMk cId="1605244184" sldId="1495"/>
            <ac:graphicFrameMk id="5" creationId="{6522225A-E34C-4DAE-8DEB-8A8D135B0F34}"/>
          </ac:graphicFrameMkLst>
        </pc:graphicFrameChg>
        <pc:picChg chg="del mod">
          <ac:chgData name="Bantei Sangma [Chillibreeze]" userId="e7070ce9-26a8-4d3a-99f4-f2ac4567d4da" providerId="ADAL" clId="{F2C4BB5F-38BF-4B7A-AF0B-55D83BBDADF7}" dt="2020-07-13T10:54:42.062" v="294" actId="338"/>
          <ac:picMkLst>
            <pc:docMk/>
            <pc:sldMk cId="1605244184" sldId="1495"/>
            <ac:picMk id="10" creationId="{871CE688-5625-40C0-BC56-B4B34A654D43}"/>
          </ac:picMkLst>
        </pc:picChg>
        <pc:picChg chg="mod">
          <ac:chgData name="Bantei Sangma [Chillibreeze]" userId="e7070ce9-26a8-4d3a-99f4-f2ac4567d4da" providerId="ADAL" clId="{F2C4BB5F-38BF-4B7A-AF0B-55D83BBDADF7}" dt="2020-07-13T10:57:41.808" v="343" actId="164"/>
          <ac:picMkLst>
            <pc:docMk/>
            <pc:sldMk cId="1605244184" sldId="1495"/>
            <ac:picMk id="11" creationId="{4EEE499F-F97D-43E5-B9C6-740EDF3FADE9}"/>
          </ac:picMkLst>
        </pc:picChg>
        <pc:picChg chg="add del mod">
          <ac:chgData name="Bantei Sangma [Chillibreeze]" userId="e7070ce9-26a8-4d3a-99f4-f2ac4567d4da" providerId="ADAL" clId="{F2C4BB5F-38BF-4B7A-AF0B-55D83BBDADF7}" dt="2020-07-13T10:58:04.303" v="347" actId="21"/>
          <ac:picMkLst>
            <pc:docMk/>
            <pc:sldMk cId="1605244184" sldId="1495"/>
            <ac:picMk id="18" creationId="{0118814E-CB65-49B6-A26B-4D1C220862AA}"/>
          </ac:picMkLst>
        </pc:picChg>
        <pc:picChg chg="mod">
          <ac:chgData name="Bantei Sangma [Chillibreeze]" userId="e7070ce9-26a8-4d3a-99f4-f2ac4567d4da" providerId="ADAL" clId="{F2C4BB5F-38BF-4B7A-AF0B-55D83BBDADF7}" dt="2020-07-13T10:57:07.666" v="335" actId="164"/>
          <ac:picMkLst>
            <pc:docMk/>
            <pc:sldMk cId="1605244184" sldId="1495"/>
            <ac:picMk id="19" creationId="{2E753B51-9A30-4575-92D0-B2CDF04C1FC3}"/>
          </ac:picMkLst>
        </pc:picChg>
        <pc:picChg chg="mod">
          <ac:chgData name="Bantei Sangma [Chillibreeze]" userId="e7070ce9-26a8-4d3a-99f4-f2ac4567d4da" providerId="ADAL" clId="{F2C4BB5F-38BF-4B7A-AF0B-55D83BBDADF7}" dt="2020-07-13T10:57:41.808" v="343" actId="164"/>
          <ac:picMkLst>
            <pc:docMk/>
            <pc:sldMk cId="1605244184" sldId="1495"/>
            <ac:picMk id="20" creationId="{487E0072-0894-48AB-8400-76DE78DAED4F}"/>
          </ac:picMkLst>
        </pc:picChg>
        <pc:picChg chg="add del mod">
          <ac:chgData name="Bantei Sangma [Chillibreeze]" userId="e7070ce9-26a8-4d3a-99f4-f2ac4567d4da" providerId="ADAL" clId="{F2C4BB5F-38BF-4B7A-AF0B-55D83BBDADF7}" dt="2020-07-13T10:58:11.595" v="353" actId="21"/>
          <ac:picMkLst>
            <pc:docMk/>
            <pc:sldMk cId="1605244184" sldId="1495"/>
            <ac:picMk id="21" creationId="{88926424-F74E-4AAA-B639-C521942A52B2}"/>
          </ac:picMkLst>
        </pc:picChg>
        <pc:picChg chg="add mod">
          <ac:chgData name="Bantei Sangma [Chillibreeze]" userId="e7070ce9-26a8-4d3a-99f4-f2ac4567d4da" providerId="ADAL" clId="{F2C4BB5F-38BF-4B7A-AF0B-55D83BBDADF7}" dt="2020-07-13T11:36:52.531" v="1169" actId="962"/>
          <ac:picMkLst>
            <pc:docMk/>
            <pc:sldMk cId="1605244184" sldId="1495"/>
            <ac:picMk id="24" creationId="{E9B3B4D7-0BE9-467A-8797-820C4C964F30}"/>
          </ac:picMkLst>
        </pc:picChg>
        <pc:picChg chg="add mod">
          <ac:chgData name="Bantei Sangma [Chillibreeze]" userId="e7070ce9-26a8-4d3a-99f4-f2ac4567d4da" providerId="ADAL" clId="{F2C4BB5F-38BF-4B7A-AF0B-55D83BBDADF7}" dt="2020-07-13T11:36:55.134" v="1171" actId="962"/>
          <ac:picMkLst>
            <pc:docMk/>
            <pc:sldMk cId="1605244184" sldId="1495"/>
            <ac:picMk id="29" creationId="{0FB6B21D-FFC1-453F-97BD-A7E09C6830ED}"/>
          </ac:picMkLst>
        </pc:picChg>
        <pc:cxnChg chg="del mod">
          <ac:chgData name="Bantei Sangma [Chillibreeze]" userId="e7070ce9-26a8-4d3a-99f4-f2ac4567d4da" providerId="ADAL" clId="{F2C4BB5F-38BF-4B7A-AF0B-55D83BBDADF7}" dt="2020-07-13T10:58:09.364" v="351" actId="21"/>
          <ac:cxnSpMkLst>
            <pc:docMk/>
            <pc:sldMk cId="1605244184" sldId="1495"/>
            <ac:cxnSpMk id="15" creationId="{6043271A-A504-48F2-9423-564308331494}"/>
          </ac:cxnSpMkLst>
        </pc:cxnChg>
        <pc:cxnChg chg="add mod">
          <ac:chgData name="Bantei Sangma [Chillibreeze]" userId="e7070ce9-26a8-4d3a-99f4-f2ac4567d4da" providerId="ADAL" clId="{F2C4BB5F-38BF-4B7A-AF0B-55D83BBDADF7}" dt="2020-07-13T10:58:09.929" v="352"/>
          <ac:cxnSpMkLst>
            <pc:docMk/>
            <pc:sldMk cId="1605244184" sldId="1495"/>
            <ac:cxnSpMk id="27" creationId="{0B081E64-20D2-4A35-9F85-337167B283C6}"/>
          </ac:cxnSpMkLst>
        </pc:cxnChg>
      </pc:sldChg>
      <pc:sldChg chg="addSp delSp modSp mod">
        <pc:chgData name="Bantei Sangma [Chillibreeze]" userId="e7070ce9-26a8-4d3a-99f4-f2ac4567d4da" providerId="ADAL" clId="{F2C4BB5F-38BF-4B7A-AF0B-55D83BBDADF7}" dt="2020-07-13T11:15:03.461" v="643" actId="478"/>
        <pc:sldMkLst>
          <pc:docMk/>
          <pc:sldMk cId="2501132300" sldId="1496"/>
        </pc:sldMkLst>
        <pc:spChg chg="mod">
          <ac:chgData name="Bantei Sangma [Chillibreeze]" userId="e7070ce9-26a8-4d3a-99f4-f2ac4567d4da" providerId="ADAL" clId="{F2C4BB5F-38BF-4B7A-AF0B-55D83BBDADF7}" dt="2020-07-13T04:37:57.885" v="7"/>
          <ac:spMkLst>
            <pc:docMk/>
            <pc:sldMk cId="2501132300" sldId="1496"/>
            <ac:spMk id="2" creationId="{8FF9437B-AC3D-4BB0-A38A-C1D6EC02E398}"/>
          </ac:spMkLst>
        </pc:spChg>
        <pc:spChg chg="add mod">
          <ac:chgData name="Bantei Sangma [Chillibreeze]" userId="e7070ce9-26a8-4d3a-99f4-f2ac4567d4da" providerId="ADAL" clId="{F2C4BB5F-38BF-4B7A-AF0B-55D83BBDADF7}" dt="2020-07-13T11:15:00.793" v="642" actId="14100"/>
          <ac:spMkLst>
            <pc:docMk/>
            <pc:sldMk cId="2501132300" sldId="1496"/>
            <ac:spMk id="4" creationId="{B46ECDF2-0192-413A-A68A-319699E5F8D8}"/>
          </ac:spMkLst>
        </pc:spChg>
        <pc:spChg chg="add mod">
          <ac:chgData name="Bantei Sangma [Chillibreeze]" userId="e7070ce9-26a8-4d3a-99f4-f2ac4567d4da" providerId="ADAL" clId="{F2C4BB5F-38BF-4B7A-AF0B-55D83BBDADF7}" dt="2020-07-13T11:15:00.793" v="642" actId="14100"/>
          <ac:spMkLst>
            <pc:docMk/>
            <pc:sldMk cId="2501132300" sldId="1496"/>
            <ac:spMk id="5" creationId="{21EBEB1D-A6B1-4B4C-80CD-00643B85A30B}"/>
          </ac:spMkLst>
        </pc:spChg>
        <pc:spChg chg="del mod">
          <ac:chgData name="Bantei Sangma [Chillibreeze]" userId="e7070ce9-26a8-4d3a-99f4-f2ac4567d4da" providerId="ADAL" clId="{F2C4BB5F-38BF-4B7A-AF0B-55D83BBDADF7}" dt="2020-07-13T11:01:11.971" v="428" actId="478"/>
          <ac:spMkLst>
            <pc:docMk/>
            <pc:sldMk cId="2501132300" sldId="1496"/>
            <ac:spMk id="6" creationId="{19C946F4-9399-4B07-B411-D5C22C2981F5}"/>
          </ac:spMkLst>
        </pc:spChg>
        <pc:spChg chg="del mod">
          <ac:chgData name="Bantei Sangma [Chillibreeze]" userId="e7070ce9-26a8-4d3a-99f4-f2ac4567d4da" providerId="ADAL" clId="{F2C4BB5F-38BF-4B7A-AF0B-55D83BBDADF7}" dt="2020-07-13T10:59:51.030" v="389" actId="478"/>
          <ac:spMkLst>
            <pc:docMk/>
            <pc:sldMk cId="2501132300" sldId="1496"/>
            <ac:spMk id="7" creationId="{36FF0CDF-FFF7-45E0-B491-4E91C75C3A31}"/>
          </ac:spMkLst>
        </pc:spChg>
        <pc:spChg chg="mod">
          <ac:chgData name="Bantei Sangma [Chillibreeze]" userId="e7070ce9-26a8-4d3a-99f4-f2ac4567d4da" providerId="ADAL" clId="{F2C4BB5F-38BF-4B7A-AF0B-55D83BBDADF7}" dt="2020-07-13T11:04:45.114" v="492" actId="12788"/>
          <ac:spMkLst>
            <pc:docMk/>
            <pc:sldMk cId="2501132300" sldId="1496"/>
            <ac:spMk id="8" creationId="{61A43D73-0004-4DE2-93F8-EA196C65A618}"/>
          </ac:spMkLst>
        </pc:spChg>
        <pc:spChg chg="add del mod">
          <ac:chgData name="Bantei Sangma [Chillibreeze]" userId="e7070ce9-26a8-4d3a-99f4-f2ac4567d4da" providerId="ADAL" clId="{F2C4BB5F-38BF-4B7A-AF0B-55D83BBDADF7}" dt="2020-07-13T11:00:06.929" v="393" actId="478"/>
          <ac:spMkLst>
            <pc:docMk/>
            <pc:sldMk cId="2501132300" sldId="1496"/>
            <ac:spMk id="9" creationId="{46E7976C-0DDE-41B8-ABF7-3DC7A452BA69}"/>
          </ac:spMkLst>
        </pc:spChg>
        <pc:spChg chg="add del mod">
          <ac:chgData name="Bantei Sangma [Chillibreeze]" userId="e7070ce9-26a8-4d3a-99f4-f2ac4567d4da" providerId="ADAL" clId="{F2C4BB5F-38BF-4B7A-AF0B-55D83BBDADF7}" dt="2020-07-13T11:00:06.929" v="393" actId="478"/>
          <ac:spMkLst>
            <pc:docMk/>
            <pc:sldMk cId="2501132300" sldId="1496"/>
            <ac:spMk id="10" creationId="{E4F4EBC8-0073-4032-9051-21AD21B5C91C}"/>
          </ac:spMkLst>
        </pc:spChg>
        <pc:spChg chg="add del mod">
          <ac:chgData name="Bantei Sangma [Chillibreeze]" userId="e7070ce9-26a8-4d3a-99f4-f2ac4567d4da" providerId="ADAL" clId="{F2C4BB5F-38BF-4B7A-AF0B-55D83BBDADF7}" dt="2020-07-13T11:15:03.461" v="643" actId="478"/>
          <ac:spMkLst>
            <pc:docMk/>
            <pc:sldMk cId="2501132300" sldId="1496"/>
            <ac:spMk id="11" creationId="{2B6082BD-C817-4EE2-AB50-34B080F1E6D3}"/>
          </ac:spMkLst>
        </pc:spChg>
        <pc:picChg chg="mod">
          <ac:chgData name="Bantei Sangma [Chillibreeze]" userId="e7070ce9-26a8-4d3a-99f4-f2ac4567d4da" providerId="ADAL" clId="{F2C4BB5F-38BF-4B7A-AF0B-55D83BBDADF7}" dt="2020-07-13T11:04:45.114" v="492" actId="12788"/>
          <ac:picMkLst>
            <pc:docMk/>
            <pc:sldMk cId="2501132300" sldId="1496"/>
            <ac:picMk id="3" creationId="{23FC5AE4-2558-4B47-8229-2BF461CF26E9}"/>
          </ac:picMkLst>
        </pc:picChg>
      </pc:sldChg>
      <pc:sldChg chg="modSp">
        <pc:chgData name="Bantei Sangma [Chillibreeze]" userId="e7070ce9-26a8-4d3a-99f4-f2ac4567d4da" providerId="ADAL" clId="{F2C4BB5F-38BF-4B7A-AF0B-55D83BBDADF7}" dt="2020-07-13T04:37:55.119" v="5"/>
        <pc:sldMkLst>
          <pc:docMk/>
          <pc:sldMk cId="3678033795" sldId="1501"/>
        </pc:sldMkLst>
        <pc:spChg chg="mod">
          <ac:chgData name="Bantei Sangma [Chillibreeze]" userId="e7070ce9-26a8-4d3a-99f4-f2ac4567d4da" providerId="ADAL" clId="{F2C4BB5F-38BF-4B7A-AF0B-55D83BBDADF7}" dt="2020-07-13T04:37:55.119" v="5"/>
          <ac:spMkLst>
            <pc:docMk/>
            <pc:sldMk cId="3678033795" sldId="1501"/>
            <ac:spMk id="2" creationId="{544A83E9-9D3F-4D27-92C5-3271240ED3D2}"/>
          </ac:spMkLst>
        </pc:spChg>
      </pc:sldChg>
      <pc:sldChg chg="modSp">
        <pc:chgData name="Bantei Sangma [Chillibreeze]" userId="e7070ce9-26a8-4d3a-99f4-f2ac4567d4da" providerId="ADAL" clId="{F2C4BB5F-38BF-4B7A-AF0B-55D83BBDADF7}" dt="2020-07-13T11:25:24.069" v="810" actId="13244"/>
        <pc:sldMkLst>
          <pc:docMk/>
          <pc:sldMk cId="1380867704" sldId="1508"/>
        </pc:sldMkLst>
        <pc:spChg chg="mod">
          <ac:chgData name="Bantei Sangma [Chillibreeze]" userId="e7070ce9-26a8-4d3a-99f4-f2ac4567d4da" providerId="ADAL" clId="{F2C4BB5F-38BF-4B7A-AF0B-55D83BBDADF7}" dt="2020-07-13T04:38:12.572" v="15"/>
          <ac:spMkLst>
            <pc:docMk/>
            <pc:sldMk cId="1380867704" sldId="1508"/>
            <ac:spMk id="2" creationId="{D11DCE45-71BA-4C46-ADE4-741F70B4ED2A}"/>
          </ac:spMkLst>
        </pc:spChg>
        <pc:spChg chg="mod">
          <ac:chgData name="Bantei Sangma [Chillibreeze]" userId="e7070ce9-26a8-4d3a-99f4-f2ac4567d4da" providerId="ADAL" clId="{F2C4BB5F-38BF-4B7A-AF0B-55D83BBDADF7}" dt="2020-07-13T11:25:08.971" v="808" actId="13244"/>
          <ac:spMkLst>
            <pc:docMk/>
            <pc:sldMk cId="1380867704" sldId="1508"/>
            <ac:spMk id="7" creationId="{B6C46273-09FE-4D04-9D99-E6962DDF776C}"/>
          </ac:spMkLst>
        </pc:spChg>
        <pc:spChg chg="mod">
          <ac:chgData name="Bantei Sangma [Chillibreeze]" userId="e7070ce9-26a8-4d3a-99f4-f2ac4567d4da" providerId="ADAL" clId="{F2C4BB5F-38BF-4B7A-AF0B-55D83BBDADF7}" dt="2020-07-13T11:25:24.069" v="810" actId="13244"/>
          <ac:spMkLst>
            <pc:docMk/>
            <pc:sldMk cId="1380867704" sldId="1508"/>
            <ac:spMk id="12" creationId="{032D826C-4A6B-44AB-8C59-85CF0D32EC2C}"/>
          </ac:spMkLst>
        </pc:spChg>
        <pc:spChg chg="mod">
          <ac:chgData name="Bantei Sangma [Chillibreeze]" userId="e7070ce9-26a8-4d3a-99f4-f2ac4567d4da" providerId="ADAL" clId="{F2C4BB5F-38BF-4B7A-AF0B-55D83BBDADF7}" dt="2020-07-13T11:24:59.985" v="807" actId="13244"/>
          <ac:spMkLst>
            <pc:docMk/>
            <pc:sldMk cId="1380867704" sldId="1508"/>
            <ac:spMk id="13" creationId="{143F2B34-0C0F-4A8B-A3ED-BE6D43315DB9}"/>
          </ac:spMkLst>
        </pc:spChg>
        <pc:spChg chg="mod">
          <ac:chgData name="Bantei Sangma [Chillibreeze]" userId="e7070ce9-26a8-4d3a-99f4-f2ac4567d4da" providerId="ADAL" clId="{F2C4BB5F-38BF-4B7A-AF0B-55D83BBDADF7}" dt="2020-07-13T11:25:17.204" v="809" actId="13244"/>
          <ac:spMkLst>
            <pc:docMk/>
            <pc:sldMk cId="1380867704" sldId="1508"/>
            <ac:spMk id="16" creationId="{ACD3FB76-FEF7-49FF-A20E-460BCF7C21F5}"/>
          </ac:spMkLst>
        </pc:spChg>
        <pc:spChg chg="mod">
          <ac:chgData name="Bantei Sangma [Chillibreeze]" userId="e7070ce9-26a8-4d3a-99f4-f2ac4567d4da" providerId="ADAL" clId="{F2C4BB5F-38BF-4B7A-AF0B-55D83BBDADF7}" dt="2020-07-13T11:24:41.355" v="806" actId="13244"/>
          <ac:spMkLst>
            <pc:docMk/>
            <pc:sldMk cId="1380867704" sldId="1508"/>
            <ac:spMk id="18" creationId="{0DDBBAF2-28D1-4692-B29B-B23907B99F56}"/>
          </ac:spMkLst>
        </pc:spChg>
        <pc:spChg chg="mod">
          <ac:chgData name="Bantei Sangma [Chillibreeze]" userId="e7070ce9-26a8-4d3a-99f4-f2ac4567d4da" providerId="ADAL" clId="{F2C4BB5F-38BF-4B7A-AF0B-55D83BBDADF7}" dt="2020-07-13T11:24:37.470" v="805" actId="13244"/>
          <ac:spMkLst>
            <pc:docMk/>
            <pc:sldMk cId="1380867704" sldId="1508"/>
            <ac:spMk id="23" creationId="{60156EE5-B968-44E8-99F8-207B252A849F}"/>
          </ac:spMkLst>
        </pc:spChg>
      </pc:sldChg>
      <pc:sldChg chg="addSp delSp modSp mod">
        <pc:chgData name="Bantei Sangma [Chillibreeze]" userId="e7070ce9-26a8-4d3a-99f4-f2ac4567d4da" providerId="ADAL" clId="{F2C4BB5F-38BF-4B7A-AF0B-55D83BBDADF7}" dt="2020-07-13T11:33:10.275" v="1092" actId="13244"/>
        <pc:sldMkLst>
          <pc:docMk/>
          <pc:sldMk cId="392330573" sldId="1509"/>
        </pc:sldMkLst>
        <pc:spChg chg="mod">
          <ac:chgData name="Bantei Sangma [Chillibreeze]" userId="e7070ce9-26a8-4d3a-99f4-f2ac4567d4da" providerId="ADAL" clId="{F2C4BB5F-38BF-4B7A-AF0B-55D83BBDADF7}" dt="2020-07-13T04:38:15.394" v="17"/>
          <ac:spMkLst>
            <pc:docMk/>
            <pc:sldMk cId="392330573" sldId="1509"/>
            <ac:spMk id="2" creationId="{8EB24F5B-38B6-4A50-B0C2-9DBFF3DA0214}"/>
          </ac:spMkLst>
        </pc:spChg>
        <pc:spChg chg="add del mod">
          <ac:chgData name="Bantei Sangma [Chillibreeze]" userId="e7070ce9-26a8-4d3a-99f4-f2ac4567d4da" providerId="ADAL" clId="{F2C4BB5F-38BF-4B7A-AF0B-55D83BBDADF7}" dt="2020-07-13T11:26:33.187" v="814" actId="478"/>
          <ac:spMkLst>
            <pc:docMk/>
            <pc:sldMk cId="392330573" sldId="1509"/>
            <ac:spMk id="3" creationId="{A7F14DD7-2616-4185-8754-194E03DADC2F}"/>
          </ac:spMkLst>
        </pc:spChg>
        <pc:spChg chg="add del mod">
          <ac:chgData name="Bantei Sangma [Chillibreeze]" userId="e7070ce9-26a8-4d3a-99f4-f2ac4567d4da" providerId="ADAL" clId="{F2C4BB5F-38BF-4B7A-AF0B-55D83BBDADF7}" dt="2020-07-13T11:27:14.859" v="833"/>
          <ac:spMkLst>
            <pc:docMk/>
            <pc:sldMk cId="392330573" sldId="1509"/>
            <ac:spMk id="4" creationId="{3CDA6038-1D5E-4537-9591-C78FB72F4987}"/>
          </ac:spMkLst>
        </pc:spChg>
        <pc:spChg chg="add mod">
          <ac:chgData name="Bantei Sangma [Chillibreeze]" userId="e7070ce9-26a8-4d3a-99f4-f2ac4567d4da" providerId="ADAL" clId="{F2C4BB5F-38BF-4B7A-AF0B-55D83BBDADF7}" dt="2020-07-13T11:28:10.890" v="879" actId="13244"/>
          <ac:spMkLst>
            <pc:docMk/>
            <pc:sldMk cId="392330573" sldId="1509"/>
            <ac:spMk id="5" creationId="{BC7882A2-703D-4452-A39B-9C2E0AD1D20F}"/>
          </ac:spMkLst>
        </pc:spChg>
        <pc:spChg chg="add mod">
          <ac:chgData name="Bantei Sangma [Chillibreeze]" userId="e7070ce9-26a8-4d3a-99f4-f2ac4567d4da" providerId="ADAL" clId="{F2C4BB5F-38BF-4B7A-AF0B-55D83BBDADF7}" dt="2020-07-13T11:33:00.963" v="1089" actId="13244"/>
          <ac:spMkLst>
            <pc:docMk/>
            <pc:sldMk cId="392330573" sldId="1509"/>
            <ac:spMk id="6" creationId="{5125323E-ECD8-4453-8FA4-B7C97D600D94}"/>
          </ac:spMkLst>
        </pc:spChg>
        <pc:spChg chg="add mod">
          <ac:chgData name="Bantei Sangma [Chillibreeze]" userId="e7070ce9-26a8-4d3a-99f4-f2ac4567d4da" providerId="ADAL" clId="{F2C4BB5F-38BF-4B7A-AF0B-55D83BBDADF7}" dt="2020-07-13T11:33:05.808" v="1090" actId="13244"/>
          <ac:spMkLst>
            <pc:docMk/>
            <pc:sldMk cId="392330573" sldId="1509"/>
            <ac:spMk id="7" creationId="{EB854A1B-487E-46E7-B2D4-C7A33B5322E7}"/>
          </ac:spMkLst>
        </pc:spChg>
        <pc:spChg chg="add mod">
          <ac:chgData name="Bantei Sangma [Chillibreeze]" userId="e7070ce9-26a8-4d3a-99f4-f2ac4567d4da" providerId="ADAL" clId="{F2C4BB5F-38BF-4B7A-AF0B-55D83BBDADF7}" dt="2020-07-13T11:33:06.860" v="1091" actId="13244"/>
          <ac:spMkLst>
            <pc:docMk/>
            <pc:sldMk cId="392330573" sldId="1509"/>
            <ac:spMk id="8" creationId="{F9EF1596-69A2-48A2-8F56-4D54B1B90FD2}"/>
          </ac:spMkLst>
        </pc:spChg>
        <pc:spChg chg="add mod">
          <ac:chgData name="Bantei Sangma [Chillibreeze]" userId="e7070ce9-26a8-4d3a-99f4-f2ac4567d4da" providerId="ADAL" clId="{F2C4BB5F-38BF-4B7A-AF0B-55D83BBDADF7}" dt="2020-07-13T11:31:59.396" v="1062" actId="20577"/>
          <ac:spMkLst>
            <pc:docMk/>
            <pc:sldMk cId="392330573" sldId="1509"/>
            <ac:spMk id="9" creationId="{4B30E4F5-6B9F-4D35-AD7E-A3B1B0B79051}"/>
          </ac:spMkLst>
        </pc:spChg>
        <pc:spChg chg="add mod">
          <ac:chgData name="Bantei Sangma [Chillibreeze]" userId="e7070ce9-26a8-4d3a-99f4-f2ac4567d4da" providerId="ADAL" clId="{F2C4BB5F-38BF-4B7A-AF0B-55D83BBDADF7}" dt="2020-07-13T11:33:10.275" v="1092" actId="13244"/>
          <ac:spMkLst>
            <pc:docMk/>
            <pc:sldMk cId="392330573" sldId="1509"/>
            <ac:spMk id="10" creationId="{D0B82329-DC11-4DA6-93CC-890C8768D1B7}"/>
          </ac:spMkLst>
        </pc:spChg>
        <pc:spChg chg="del mod">
          <ac:chgData name="Bantei Sangma [Chillibreeze]" userId="e7070ce9-26a8-4d3a-99f4-f2ac4567d4da" providerId="ADAL" clId="{F2C4BB5F-38BF-4B7A-AF0B-55D83BBDADF7}" dt="2020-07-13T11:32:50.426" v="1088" actId="478"/>
          <ac:spMkLst>
            <pc:docMk/>
            <pc:sldMk cId="392330573" sldId="1509"/>
            <ac:spMk id="21" creationId="{B450E70E-ED61-46D9-ACC0-942C90402818}"/>
          </ac:spMkLst>
        </pc:spChg>
        <pc:spChg chg="del mod">
          <ac:chgData name="Bantei Sangma [Chillibreeze]" userId="e7070ce9-26a8-4d3a-99f4-f2ac4567d4da" providerId="ADAL" clId="{F2C4BB5F-38BF-4B7A-AF0B-55D83BBDADF7}" dt="2020-07-13T11:27:56.565" v="878" actId="478"/>
          <ac:spMkLst>
            <pc:docMk/>
            <pc:sldMk cId="392330573" sldId="1509"/>
            <ac:spMk id="23" creationId="{4DC59243-89B0-493B-B148-C6FF1F473294}"/>
          </ac:spMkLst>
        </pc:spChg>
        <pc:spChg chg="del mod">
          <ac:chgData name="Bantei Sangma [Chillibreeze]" userId="e7070ce9-26a8-4d3a-99f4-f2ac4567d4da" providerId="ADAL" clId="{F2C4BB5F-38BF-4B7A-AF0B-55D83BBDADF7}" dt="2020-07-13T11:29:06.202" v="907" actId="478"/>
          <ac:spMkLst>
            <pc:docMk/>
            <pc:sldMk cId="392330573" sldId="1509"/>
            <ac:spMk id="24" creationId="{44BEBC40-73AB-4E31-AC90-96A272D4405A}"/>
          </ac:spMkLst>
        </pc:spChg>
        <pc:spChg chg="add del mod">
          <ac:chgData name="Bantei Sangma [Chillibreeze]" userId="e7070ce9-26a8-4d3a-99f4-f2ac4567d4da" providerId="ADAL" clId="{F2C4BB5F-38BF-4B7A-AF0B-55D83BBDADF7}" dt="2020-07-13T11:29:55.573" v="962" actId="478"/>
          <ac:spMkLst>
            <pc:docMk/>
            <pc:sldMk cId="392330573" sldId="1509"/>
            <ac:spMk id="25" creationId="{6E120F6A-7BD5-4C1A-81F9-7B6151534432}"/>
          </ac:spMkLst>
        </pc:spChg>
        <pc:spChg chg="del mod">
          <ac:chgData name="Bantei Sangma [Chillibreeze]" userId="e7070ce9-26a8-4d3a-99f4-f2ac4567d4da" providerId="ADAL" clId="{F2C4BB5F-38BF-4B7A-AF0B-55D83BBDADF7}" dt="2020-07-13T11:29:27.268" v="933" actId="478"/>
          <ac:spMkLst>
            <pc:docMk/>
            <pc:sldMk cId="392330573" sldId="1509"/>
            <ac:spMk id="26" creationId="{FB854654-FD9B-46D7-A7A6-DBD9638A0B89}"/>
          </ac:spMkLst>
        </pc:spChg>
        <pc:spChg chg="mod">
          <ac:chgData name="Bantei Sangma [Chillibreeze]" userId="e7070ce9-26a8-4d3a-99f4-f2ac4567d4da" providerId="ADAL" clId="{F2C4BB5F-38BF-4B7A-AF0B-55D83BBDADF7}" dt="2020-07-13T11:25:34.476" v="811" actId="13244"/>
          <ac:spMkLst>
            <pc:docMk/>
            <pc:sldMk cId="392330573" sldId="1509"/>
            <ac:spMk id="31" creationId="{94CD3131-AF3D-4ADE-89AB-5F29E2A75EDA}"/>
          </ac:spMkLst>
        </pc:spChg>
      </pc:sldChg>
      <pc:sldChg chg="modSp">
        <pc:chgData name="Bantei Sangma [Chillibreeze]" userId="e7070ce9-26a8-4d3a-99f4-f2ac4567d4da" providerId="ADAL" clId="{F2C4BB5F-38BF-4B7A-AF0B-55D83BBDADF7}" dt="2020-07-13T04:39:05.652" v="26"/>
        <pc:sldMkLst>
          <pc:docMk/>
          <pc:sldMk cId="4084345833" sldId="1510"/>
        </pc:sldMkLst>
        <pc:spChg chg="mod">
          <ac:chgData name="Bantei Sangma [Chillibreeze]" userId="e7070ce9-26a8-4d3a-99f4-f2ac4567d4da" providerId="ADAL" clId="{F2C4BB5F-38BF-4B7A-AF0B-55D83BBDADF7}" dt="2020-07-13T04:39:05.652" v="26"/>
          <ac:spMkLst>
            <pc:docMk/>
            <pc:sldMk cId="4084345833" sldId="1510"/>
            <ac:spMk id="2" creationId="{544A83E9-9D3F-4D27-92C5-3271240ED3D2}"/>
          </ac:spMkLst>
        </pc:spChg>
      </pc:sldChg>
      <pc:sldChg chg="addSp delSp modSp mod">
        <pc:chgData name="Bantei Sangma [Chillibreeze]" userId="e7070ce9-26a8-4d3a-99f4-f2ac4567d4da" providerId="ADAL" clId="{F2C4BB5F-38BF-4B7A-AF0B-55D83BBDADF7}" dt="2020-07-13T11:41:53.098" v="1280" actId="22"/>
        <pc:sldMkLst>
          <pc:docMk/>
          <pc:sldMk cId="1301972457" sldId="1511"/>
        </pc:sldMkLst>
        <pc:spChg chg="mod">
          <ac:chgData name="Bantei Sangma [Chillibreeze]" userId="e7070ce9-26a8-4d3a-99f4-f2ac4567d4da" providerId="ADAL" clId="{F2C4BB5F-38BF-4B7A-AF0B-55D83BBDADF7}" dt="2020-07-13T11:37:27.479" v="1176" actId="338"/>
          <ac:spMkLst>
            <pc:docMk/>
            <pc:sldMk cId="1301972457" sldId="1511"/>
            <ac:spMk id="2" creationId="{D1A1B013-1649-4390-A1B0-0F9B7BCD22B3}"/>
          </ac:spMkLst>
        </pc:spChg>
        <pc:spChg chg="del mod">
          <ac:chgData name="Bantei Sangma [Chillibreeze]" userId="e7070ce9-26a8-4d3a-99f4-f2ac4567d4da" providerId="ADAL" clId="{F2C4BB5F-38BF-4B7A-AF0B-55D83BBDADF7}" dt="2020-07-13T11:41:32.772" v="1261" actId="21"/>
          <ac:spMkLst>
            <pc:docMk/>
            <pc:sldMk cId="1301972457" sldId="1511"/>
            <ac:spMk id="5" creationId="{34F18174-5185-4C41-9A4B-004E642CF798}"/>
          </ac:spMkLst>
        </pc:spChg>
        <pc:spChg chg="del mod">
          <ac:chgData name="Bantei Sangma [Chillibreeze]" userId="e7070ce9-26a8-4d3a-99f4-f2ac4567d4da" providerId="ADAL" clId="{F2C4BB5F-38BF-4B7A-AF0B-55D83BBDADF7}" dt="2020-07-13T11:41:38.853" v="1267" actId="21"/>
          <ac:spMkLst>
            <pc:docMk/>
            <pc:sldMk cId="1301972457" sldId="1511"/>
            <ac:spMk id="7" creationId="{C9921934-84FB-43C1-BA3E-BFDB4BB0080D}"/>
          </ac:spMkLst>
        </pc:spChg>
        <pc:spChg chg="del mod">
          <ac:chgData name="Bantei Sangma [Chillibreeze]" userId="e7070ce9-26a8-4d3a-99f4-f2ac4567d4da" providerId="ADAL" clId="{F2C4BB5F-38BF-4B7A-AF0B-55D83BBDADF7}" dt="2020-07-13T11:41:45.686" v="1273" actId="21"/>
          <ac:spMkLst>
            <pc:docMk/>
            <pc:sldMk cId="1301972457" sldId="1511"/>
            <ac:spMk id="10" creationId="{0B529BE9-A9DC-4E58-8720-E4C5C19D35BA}"/>
          </ac:spMkLst>
        </pc:spChg>
        <pc:spChg chg="del mod">
          <ac:chgData name="Bantei Sangma [Chillibreeze]" userId="e7070ce9-26a8-4d3a-99f4-f2ac4567d4da" providerId="ADAL" clId="{F2C4BB5F-38BF-4B7A-AF0B-55D83BBDADF7}" dt="2020-07-13T11:41:52.465" v="1279" actId="21"/>
          <ac:spMkLst>
            <pc:docMk/>
            <pc:sldMk cId="1301972457" sldId="1511"/>
            <ac:spMk id="12" creationId="{67851E99-1163-46A4-A7A6-A86052DE0BD0}"/>
          </ac:spMkLst>
        </pc:spChg>
        <pc:spChg chg="mod topLvl">
          <ac:chgData name="Bantei Sangma [Chillibreeze]" userId="e7070ce9-26a8-4d3a-99f4-f2ac4567d4da" providerId="ADAL" clId="{F2C4BB5F-38BF-4B7A-AF0B-55D83BBDADF7}" dt="2020-07-13T11:35:19.740" v="1160" actId="165"/>
          <ac:spMkLst>
            <pc:docMk/>
            <pc:sldMk cId="1301972457" sldId="1511"/>
            <ac:spMk id="13" creationId="{B20CEDFC-FC2E-48EB-AAB5-72658A89D173}"/>
          </ac:spMkLst>
        </pc:spChg>
        <pc:spChg chg="add del mod topLvl">
          <ac:chgData name="Bantei Sangma [Chillibreeze]" userId="e7070ce9-26a8-4d3a-99f4-f2ac4567d4da" providerId="ADAL" clId="{F2C4BB5F-38BF-4B7A-AF0B-55D83BBDADF7}" dt="2020-07-13T11:35:19.740" v="1160" actId="165"/>
          <ac:spMkLst>
            <pc:docMk/>
            <pc:sldMk cId="1301972457" sldId="1511"/>
            <ac:spMk id="14" creationId="{21D10C0B-1EC3-4257-8D2D-5A848F30D386}"/>
          </ac:spMkLst>
        </pc:spChg>
        <pc:spChg chg="mod topLvl">
          <ac:chgData name="Bantei Sangma [Chillibreeze]" userId="e7070ce9-26a8-4d3a-99f4-f2ac4567d4da" providerId="ADAL" clId="{F2C4BB5F-38BF-4B7A-AF0B-55D83BBDADF7}" dt="2020-07-13T11:35:19.740" v="1160" actId="165"/>
          <ac:spMkLst>
            <pc:docMk/>
            <pc:sldMk cId="1301972457" sldId="1511"/>
            <ac:spMk id="15" creationId="{4352BFBB-B344-4DA8-918F-33063CFDF63A}"/>
          </ac:spMkLst>
        </pc:spChg>
        <pc:spChg chg="mod topLvl">
          <ac:chgData name="Bantei Sangma [Chillibreeze]" userId="e7070ce9-26a8-4d3a-99f4-f2ac4567d4da" providerId="ADAL" clId="{F2C4BB5F-38BF-4B7A-AF0B-55D83BBDADF7}" dt="2020-07-13T11:35:19.740" v="1160" actId="165"/>
          <ac:spMkLst>
            <pc:docMk/>
            <pc:sldMk cId="1301972457" sldId="1511"/>
            <ac:spMk id="16" creationId="{590EDA6A-62EE-4FE3-91AA-1C27B15593BC}"/>
          </ac:spMkLst>
        </pc:spChg>
        <pc:spChg chg="del mod topLvl">
          <ac:chgData name="Bantei Sangma [Chillibreeze]" userId="e7070ce9-26a8-4d3a-99f4-f2ac4567d4da" providerId="ADAL" clId="{F2C4BB5F-38BF-4B7A-AF0B-55D83BBDADF7}" dt="2020-07-13T11:38:31.420" v="1203" actId="478"/>
          <ac:spMkLst>
            <pc:docMk/>
            <pc:sldMk cId="1301972457" sldId="1511"/>
            <ac:spMk id="21" creationId="{97795A04-F9F1-45F7-940A-94555B3A4BFA}"/>
          </ac:spMkLst>
        </pc:spChg>
        <pc:spChg chg="mod topLvl">
          <ac:chgData name="Bantei Sangma [Chillibreeze]" userId="e7070ce9-26a8-4d3a-99f4-f2ac4567d4da" providerId="ADAL" clId="{F2C4BB5F-38BF-4B7A-AF0B-55D83BBDADF7}" dt="2020-07-13T11:38:10.798" v="1197" actId="164"/>
          <ac:spMkLst>
            <pc:docMk/>
            <pc:sldMk cId="1301972457" sldId="1511"/>
            <ac:spMk id="30" creationId="{2DE4A3B5-F1DB-4052-B725-E303D23CD595}"/>
          </ac:spMkLst>
        </pc:spChg>
        <pc:spChg chg="del mod topLvl">
          <ac:chgData name="Bantei Sangma [Chillibreeze]" userId="e7070ce9-26a8-4d3a-99f4-f2ac4567d4da" providerId="ADAL" clId="{F2C4BB5F-38BF-4B7A-AF0B-55D83BBDADF7}" dt="2020-07-13T11:37:41.677" v="1182" actId="478"/>
          <ac:spMkLst>
            <pc:docMk/>
            <pc:sldMk cId="1301972457" sldId="1511"/>
            <ac:spMk id="31" creationId="{A1FEC95F-7FF9-4538-B3AC-2485C09757D7}"/>
          </ac:spMkLst>
        </pc:spChg>
        <pc:spChg chg="mod topLvl">
          <ac:chgData name="Bantei Sangma [Chillibreeze]" userId="e7070ce9-26a8-4d3a-99f4-f2ac4567d4da" providerId="ADAL" clId="{F2C4BB5F-38BF-4B7A-AF0B-55D83BBDADF7}" dt="2020-07-13T11:38:10.798" v="1197" actId="164"/>
          <ac:spMkLst>
            <pc:docMk/>
            <pc:sldMk cId="1301972457" sldId="1511"/>
            <ac:spMk id="32" creationId="{F7068C55-B79D-4FFB-92BC-D7C2A2C78A3F}"/>
          </ac:spMkLst>
        </pc:spChg>
        <pc:spChg chg="add del mod">
          <ac:chgData name="Bantei Sangma [Chillibreeze]" userId="e7070ce9-26a8-4d3a-99f4-f2ac4567d4da" providerId="ADAL" clId="{F2C4BB5F-38BF-4B7A-AF0B-55D83BBDADF7}" dt="2020-07-13T11:38:26.686" v="1201" actId="478"/>
          <ac:spMkLst>
            <pc:docMk/>
            <pc:sldMk cId="1301972457" sldId="1511"/>
            <ac:spMk id="34" creationId="{A9D5CCAC-0CF4-4E02-B1C7-2C5243FF2753}"/>
          </ac:spMkLst>
        </pc:spChg>
        <pc:spChg chg="mod">
          <ac:chgData name="Bantei Sangma [Chillibreeze]" userId="e7070ce9-26a8-4d3a-99f4-f2ac4567d4da" providerId="ADAL" clId="{F2C4BB5F-38BF-4B7A-AF0B-55D83BBDADF7}" dt="2020-07-13T11:38:35.292" v="1206" actId="571"/>
          <ac:spMkLst>
            <pc:docMk/>
            <pc:sldMk cId="1301972457" sldId="1511"/>
            <ac:spMk id="36" creationId="{95FFBFB5-133C-409C-915A-520EA394D3D5}"/>
          </ac:spMkLst>
        </pc:spChg>
        <pc:spChg chg="mod">
          <ac:chgData name="Bantei Sangma [Chillibreeze]" userId="e7070ce9-26a8-4d3a-99f4-f2ac4567d4da" providerId="ADAL" clId="{F2C4BB5F-38BF-4B7A-AF0B-55D83BBDADF7}" dt="2020-07-13T11:38:35.292" v="1206" actId="571"/>
          <ac:spMkLst>
            <pc:docMk/>
            <pc:sldMk cId="1301972457" sldId="1511"/>
            <ac:spMk id="37" creationId="{8DB1FB6B-3836-4616-BA50-C9C238AAB490}"/>
          </ac:spMkLst>
        </pc:spChg>
        <pc:spChg chg="mod">
          <ac:chgData name="Bantei Sangma [Chillibreeze]" userId="e7070ce9-26a8-4d3a-99f4-f2ac4567d4da" providerId="ADAL" clId="{F2C4BB5F-38BF-4B7A-AF0B-55D83BBDADF7}" dt="2020-07-13T11:38:57.953" v="1211" actId="571"/>
          <ac:spMkLst>
            <pc:docMk/>
            <pc:sldMk cId="1301972457" sldId="1511"/>
            <ac:spMk id="39" creationId="{5CDE88FA-0313-4699-8107-B0DA6FBE747F}"/>
          </ac:spMkLst>
        </pc:spChg>
        <pc:spChg chg="mod">
          <ac:chgData name="Bantei Sangma [Chillibreeze]" userId="e7070ce9-26a8-4d3a-99f4-f2ac4567d4da" providerId="ADAL" clId="{F2C4BB5F-38BF-4B7A-AF0B-55D83BBDADF7}" dt="2020-07-13T11:38:57.953" v="1211" actId="571"/>
          <ac:spMkLst>
            <pc:docMk/>
            <pc:sldMk cId="1301972457" sldId="1511"/>
            <ac:spMk id="40" creationId="{721A756B-D6CB-4B7C-8EC7-8DF56E4AFC65}"/>
          </ac:spMkLst>
        </pc:spChg>
        <pc:spChg chg="mod">
          <ac:chgData name="Bantei Sangma [Chillibreeze]" userId="e7070ce9-26a8-4d3a-99f4-f2ac4567d4da" providerId="ADAL" clId="{F2C4BB5F-38BF-4B7A-AF0B-55D83BBDADF7}" dt="2020-07-13T11:39:12.164" v="1217" actId="571"/>
          <ac:spMkLst>
            <pc:docMk/>
            <pc:sldMk cId="1301972457" sldId="1511"/>
            <ac:spMk id="42" creationId="{EAF6D8AE-0692-4B30-B44C-956889777F78}"/>
          </ac:spMkLst>
        </pc:spChg>
        <pc:spChg chg="mod">
          <ac:chgData name="Bantei Sangma [Chillibreeze]" userId="e7070ce9-26a8-4d3a-99f4-f2ac4567d4da" providerId="ADAL" clId="{F2C4BB5F-38BF-4B7A-AF0B-55D83BBDADF7}" dt="2020-07-13T11:39:12.164" v="1217" actId="571"/>
          <ac:spMkLst>
            <pc:docMk/>
            <pc:sldMk cId="1301972457" sldId="1511"/>
            <ac:spMk id="43" creationId="{314C83EF-4B26-4BDC-ABED-C8EB0E7E67DC}"/>
          </ac:spMkLst>
        </pc:spChg>
        <pc:spChg chg="mod">
          <ac:chgData name="Bantei Sangma [Chillibreeze]" userId="e7070ce9-26a8-4d3a-99f4-f2ac4567d4da" providerId="ADAL" clId="{F2C4BB5F-38BF-4B7A-AF0B-55D83BBDADF7}" dt="2020-07-13T11:39:33.571" v="1226" actId="571"/>
          <ac:spMkLst>
            <pc:docMk/>
            <pc:sldMk cId="1301972457" sldId="1511"/>
            <ac:spMk id="48" creationId="{4CFCC2AF-2CDB-4376-B9B6-E2DAB1BFE61A}"/>
          </ac:spMkLst>
        </pc:spChg>
        <pc:spChg chg="mod">
          <ac:chgData name="Bantei Sangma [Chillibreeze]" userId="e7070ce9-26a8-4d3a-99f4-f2ac4567d4da" providerId="ADAL" clId="{F2C4BB5F-38BF-4B7A-AF0B-55D83BBDADF7}" dt="2020-07-13T11:39:33.571" v="1226" actId="571"/>
          <ac:spMkLst>
            <pc:docMk/>
            <pc:sldMk cId="1301972457" sldId="1511"/>
            <ac:spMk id="49" creationId="{86A16BF4-C6A8-4D83-A5F1-E0C9F6E919EC}"/>
          </ac:spMkLst>
        </pc:spChg>
        <pc:spChg chg="mod">
          <ac:chgData name="Bantei Sangma [Chillibreeze]" userId="e7070ce9-26a8-4d3a-99f4-f2ac4567d4da" providerId="ADAL" clId="{F2C4BB5F-38BF-4B7A-AF0B-55D83BBDADF7}" dt="2020-07-13T11:40:37.098" v="1244" actId="571"/>
          <ac:spMkLst>
            <pc:docMk/>
            <pc:sldMk cId="1301972457" sldId="1511"/>
            <ac:spMk id="64" creationId="{3BE01987-7DCC-4D0D-BB87-077675E5FD22}"/>
          </ac:spMkLst>
        </pc:spChg>
        <pc:spChg chg="mod">
          <ac:chgData name="Bantei Sangma [Chillibreeze]" userId="e7070ce9-26a8-4d3a-99f4-f2ac4567d4da" providerId="ADAL" clId="{F2C4BB5F-38BF-4B7A-AF0B-55D83BBDADF7}" dt="2020-07-13T11:40:37.098" v="1244" actId="571"/>
          <ac:spMkLst>
            <pc:docMk/>
            <pc:sldMk cId="1301972457" sldId="1511"/>
            <ac:spMk id="65" creationId="{CF2D89ED-B710-4B8C-B07E-E34E5ABD45CE}"/>
          </ac:spMkLst>
        </pc:spChg>
        <pc:spChg chg="add">
          <ac:chgData name="Bantei Sangma [Chillibreeze]" userId="e7070ce9-26a8-4d3a-99f4-f2ac4567d4da" providerId="ADAL" clId="{F2C4BB5F-38BF-4B7A-AF0B-55D83BBDADF7}" dt="2020-07-13T11:41:33.281" v="1262" actId="22"/>
          <ac:spMkLst>
            <pc:docMk/>
            <pc:sldMk cId="1301972457" sldId="1511"/>
            <ac:spMk id="71" creationId="{2FFE6052-A5D0-4F67-8191-B56A8266178D}"/>
          </ac:spMkLst>
        </pc:spChg>
        <pc:spChg chg="add">
          <ac:chgData name="Bantei Sangma [Chillibreeze]" userId="e7070ce9-26a8-4d3a-99f4-f2ac4567d4da" providerId="ADAL" clId="{F2C4BB5F-38BF-4B7A-AF0B-55D83BBDADF7}" dt="2020-07-13T11:41:39.523" v="1268" actId="22"/>
          <ac:spMkLst>
            <pc:docMk/>
            <pc:sldMk cId="1301972457" sldId="1511"/>
            <ac:spMk id="76" creationId="{18CA6651-E263-47D6-87C0-8DA037C03B47}"/>
          </ac:spMkLst>
        </pc:spChg>
        <pc:spChg chg="add">
          <ac:chgData name="Bantei Sangma [Chillibreeze]" userId="e7070ce9-26a8-4d3a-99f4-f2ac4567d4da" providerId="ADAL" clId="{F2C4BB5F-38BF-4B7A-AF0B-55D83BBDADF7}" dt="2020-07-13T11:41:46.172" v="1274" actId="22"/>
          <ac:spMkLst>
            <pc:docMk/>
            <pc:sldMk cId="1301972457" sldId="1511"/>
            <ac:spMk id="81" creationId="{E1802F40-CC85-47D4-BCBC-659F60732E37}"/>
          </ac:spMkLst>
        </pc:spChg>
        <pc:spChg chg="add">
          <ac:chgData name="Bantei Sangma [Chillibreeze]" userId="e7070ce9-26a8-4d3a-99f4-f2ac4567d4da" providerId="ADAL" clId="{F2C4BB5F-38BF-4B7A-AF0B-55D83BBDADF7}" dt="2020-07-13T11:41:53.098" v="1280" actId="22"/>
          <ac:spMkLst>
            <pc:docMk/>
            <pc:sldMk cId="1301972457" sldId="1511"/>
            <ac:spMk id="86" creationId="{26053DB1-CC8D-4CBC-9B23-21229072A545}"/>
          </ac:spMkLst>
        </pc:spChg>
        <pc:grpChg chg="mod">
          <ac:chgData name="Bantei Sangma [Chillibreeze]" userId="e7070ce9-26a8-4d3a-99f4-f2ac4567d4da" providerId="ADAL" clId="{F2C4BB5F-38BF-4B7A-AF0B-55D83BBDADF7}" dt="2020-07-13T11:37:27.479" v="1176" actId="338"/>
          <ac:grpSpMkLst>
            <pc:docMk/>
            <pc:sldMk cId="1301972457" sldId="1511"/>
            <ac:grpSpMk id="1" creationId="{00000000-0000-0000-0000-000000000000}"/>
          </ac:grpSpMkLst>
        </pc:grpChg>
        <pc:grpChg chg="add del mod">
          <ac:chgData name="Bantei Sangma [Chillibreeze]" userId="e7070ce9-26a8-4d3a-99f4-f2ac4567d4da" providerId="ADAL" clId="{F2C4BB5F-38BF-4B7A-AF0B-55D83BBDADF7}" dt="2020-07-13T11:35:19.740" v="1160" actId="165"/>
          <ac:grpSpMkLst>
            <pc:docMk/>
            <pc:sldMk cId="1301972457" sldId="1511"/>
            <ac:grpSpMk id="3" creationId="{5F971737-4B1F-430D-AEC6-E392AC602C73}"/>
          </ac:grpSpMkLst>
        </pc:grpChg>
        <pc:grpChg chg="del">
          <ac:chgData name="Bantei Sangma [Chillibreeze]" userId="e7070ce9-26a8-4d3a-99f4-f2ac4567d4da" providerId="ADAL" clId="{F2C4BB5F-38BF-4B7A-AF0B-55D83BBDADF7}" dt="2020-07-13T05:02:53.214" v="63" actId="165"/>
          <ac:grpSpMkLst>
            <pc:docMk/>
            <pc:sldMk cId="1301972457" sldId="1511"/>
            <ac:grpSpMk id="3" creationId="{E68BAD13-9599-42E4-8B00-8A7DA8B536B2}"/>
          </ac:grpSpMkLst>
        </pc:grpChg>
        <pc:grpChg chg="del mod">
          <ac:chgData name="Bantei Sangma [Chillibreeze]" userId="e7070ce9-26a8-4d3a-99f4-f2ac4567d4da" providerId="ADAL" clId="{F2C4BB5F-38BF-4B7A-AF0B-55D83BBDADF7}" dt="2020-07-13T05:02:45.086" v="61" actId="165"/>
          <ac:grpSpMkLst>
            <pc:docMk/>
            <pc:sldMk cId="1301972457" sldId="1511"/>
            <ac:grpSpMk id="13" creationId="{D0884BA2-989D-4B0A-809A-68495319FD18}"/>
          </ac:grpSpMkLst>
        </pc:grpChg>
        <pc:grpChg chg="del mod">
          <ac:chgData name="Bantei Sangma [Chillibreeze]" userId="e7070ce9-26a8-4d3a-99f4-f2ac4567d4da" providerId="ADAL" clId="{F2C4BB5F-38BF-4B7A-AF0B-55D83BBDADF7}" dt="2020-07-13T05:01:02.010" v="50" actId="165"/>
          <ac:grpSpMkLst>
            <pc:docMk/>
            <pc:sldMk cId="1301972457" sldId="1511"/>
            <ac:grpSpMk id="14" creationId="{2AA4756F-5B35-4289-B62F-DB68E309B9B5}"/>
          </ac:grpSpMkLst>
        </pc:grpChg>
        <pc:grpChg chg="del">
          <ac:chgData name="Bantei Sangma [Chillibreeze]" userId="e7070ce9-26a8-4d3a-99f4-f2ac4567d4da" providerId="ADAL" clId="{F2C4BB5F-38BF-4B7A-AF0B-55D83BBDADF7}" dt="2020-07-13T05:03:02.796" v="65" actId="165"/>
          <ac:grpSpMkLst>
            <pc:docMk/>
            <pc:sldMk cId="1301972457" sldId="1511"/>
            <ac:grpSpMk id="15" creationId="{CC27E04D-C697-48F2-9BA8-683128E4F211}"/>
          </ac:grpSpMkLst>
        </pc:grpChg>
        <pc:grpChg chg="add del mod">
          <ac:chgData name="Bantei Sangma [Chillibreeze]" userId="e7070ce9-26a8-4d3a-99f4-f2ac4567d4da" providerId="ADAL" clId="{F2C4BB5F-38BF-4B7A-AF0B-55D83BBDADF7}" dt="2020-07-13T05:01:12.709" v="52" actId="165"/>
          <ac:grpSpMkLst>
            <pc:docMk/>
            <pc:sldMk cId="1301972457" sldId="1511"/>
            <ac:grpSpMk id="16" creationId="{75FF9580-FC3E-46BF-9589-E0065F925945}"/>
          </ac:grpSpMkLst>
        </pc:grpChg>
        <pc:grpChg chg="add del mod">
          <ac:chgData name="Bantei Sangma [Chillibreeze]" userId="e7070ce9-26a8-4d3a-99f4-f2ac4567d4da" providerId="ADAL" clId="{F2C4BB5F-38BF-4B7A-AF0B-55D83BBDADF7}" dt="2020-07-13T05:26:22.604" v="177" actId="165"/>
          <ac:grpSpMkLst>
            <pc:docMk/>
            <pc:sldMk cId="1301972457" sldId="1511"/>
            <ac:grpSpMk id="19" creationId="{5199F31F-4938-4FB9-8802-A7866C26677A}"/>
          </ac:grpSpMkLst>
        </pc:grpChg>
        <pc:grpChg chg="add del mod">
          <ac:chgData name="Bantei Sangma [Chillibreeze]" userId="e7070ce9-26a8-4d3a-99f4-f2ac4567d4da" providerId="ADAL" clId="{F2C4BB5F-38BF-4B7A-AF0B-55D83BBDADF7}" dt="2020-07-13T11:37:24.593" v="1175" actId="165"/>
          <ac:grpSpMkLst>
            <pc:docMk/>
            <pc:sldMk cId="1301972457" sldId="1511"/>
            <ac:grpSpMk id="19" creationId="{C9150B2E-4AE8-4027-9395-947ED5A9FB2F}"/>
          </ac:grpSpMkLst>
        </pc:grpChg>
        <pc:grpChg chg="del mod">
          <ac:chgData name="Bantei Sangma [Chillibreeze]" userId="e7070ce9-26a8-4d3a-99f4-f2ac4567d4da" providerId="ADAL" clId="{F2C4BB5F-38BF-4B7A-AF0B-55D83BBDADF7}" dt="2020-07-13T11:37:31.001" v="1177" actId="165"/>
          <ac:grpSpMkLst>
            <pc:docMk/>
            <pc:sldMk cId="1301972457" sldId="1511"/>
            <ac:grpSpMk id="20" creationId="{F57FC2DA-2419-470E-937A-CB322A5C2C47}"/>
          </ac:grpSpMkLst>
        </pc:grpChg>
        <pc:grpChg chg="add mod ord">
          <ac:chgData name="Bantei Sangma [Chillibreeze]" userId="e7070ce9-26a8-4d3a-99f4-f2ac4567d4da" providerId="ADAL" clId="{F2C4BB5F-38BF-4B7A-AF0B-55D83BBDADF7}" dt="2020-07-13T11:39:31.322" v="1224" actId="164"/>
          <ac:grpSpMkLst>
            <pc:docMk/>
            <pc:sldMk cId="1301972457" sldId="1511"/>
            <ac:grpSpMk id="33" creationId="{950C4328-FF92-4FE2-BB8A-434B8A803605}"/>
          </ac:grpSpMkLst>
        </pc:grpChg>
        <pc:grpChg chg="add mod ord">
          <ac:chgData name="Bantei Sangma [Chillibreeze]" userId="e7070ce9-26a8-4d3a-99f4-f2ac4567d4da" providerId="ADAL" clId="{F2C4BB5F-38BF-4B7A-AF0B-55D83BBDADF7}" dt="2020-07-13T11:39:54.432" v="1233" actId="164"/>
          <ac:grpSpMkLst>
            <pc:docMk/>
            <pc:sldMk cId="1301972457" sldId="1511"/>
            <ac:grpSpMk id="35" creationId="{B8255A32-4EC5-431A-A807-A0AC48DFCEF0}"/>
          </ac:grpSpMkLst>
        </pc:grpChg>
        <pc:grpChg chg="add mod ord">
          <ac:chgData name="Bantei Sangma [Chillibreeze]" userId="e7070ce9-26a8-4d3a-99f4-f2ac4567d4da" providerId="ADAL" clId="{F2C4BB5F-38BF-4B7A-AF0B-55D83BBDADF7}" dt="2020-07-13T11:40:21.467" v="1238" actId="164"/>
          <ac:grpSpMkLst>
            <pc:docMk/>
            <pc:sldMk cId="1301972457" sldId="1511"/>
            <ac:grpSpMk id="38" creationId="{3BACE898-C603-4CC3-8F7E-EE31B2318917}"/>
          </ac:grpSpMkLst>
        </pc:grpChg>
        <pc:grpChg chg="add mod ord">
          <ac:chgData name="Bantei Sangma [Chillibreeze]" userId="e7070ce9-26a8-4d3a-99f4-f2ac4567d4da" providerId="ADAL" clId="{F2C4BB5F-38BF-4B7A-AF0B-55D83BBDADF7}" dt="2020-07-13T11:40:35.848" v="1243" actId="164"/>
          <ac:grpSpMkLst>
            <pc:docMk/>
            <pc:sldMk cId="1301972457" sldId="1511"/>
            <ac:grpSpMk id="41" creationId="{5D267923-0B2F-45C0-ACEA-61478D28E085}"/>
          </ac:grpSpMkLst>
        </pc:grpChg>
        <pc:grpChg chg="add del mod">
          <ac:chgData name="Bantei Sangma [Chillibreeze]" userId="e7070ce9-26a8-4d3a-99f4-f2ac4567d4da" providerId="ADAL" clId="{F2C4BB5F-38BF-4B7A-AF0B-55D83BBDADF7}" dt="2020-07-13T11:39:44.972" v="1230" actId="478"/>
          <ac:grpSpMkLst>
            <pc:docMk/>
            <pc:sldMk cId="1301972457" sldId="1511"/>
            <ac:grpSpMk id="44" creationId="{E1A99C8F-6A4C-4704-A16D-54F9BCF622D9}"/>
          </ac:grpSpMkLst>
        </pc:grpChg>
        <pc:grpChg chg="add mod">
          <ac:chgData name="Bantei Sangma [Chillibreeze]" userId="e7070ce9-26a8-4d3a-99f4-f2ac4567d4da" providerId="ADAL" clId="{F2C4BB5F-38BF-4B7A-AF0B-55D83BBDADF7}" dt="2020-07-13T11:39:33.571" v="1226" actId="571"/>
          <ac:grpSpMkLst>
            <pc:docMk/>
            <pc:sldMk cId="1301972457" sldId="1511"/>
            <ac:grpSpMk id="45" creationId="{ED96FA22-7A21-4402-9551-655B3BD1844E}"/>
          </ac:grpSpMkLst>
        </pc:grpChg>
        <pc:grpChg chg="mod">
          <ac:chgData name="Bantei Sangma [Chillibreeze]" userId="e7070ce9-26a8-4d3a-99f4-f2ac4567d4da" providerId="ADAL" clId="{F2C4BB5F-38BF-4B7A-AF0B-55D83BBDADF7}" dt="2020-07-13T11:39:33.571" v="1226" actId="571"/>
          <ac:grpSpMkLst>
            <pc:docMk/>
            <pc:sldMk cId="1301972457" sldId="1511"/>
            <ac:grpSpMk id="46" creationId="{AA8B4FB1-5598-401F-AF4B-DBA32CC0E522}"/>
          </ac:grpSpMkLst>
        </pc:grpChg>
        <pc:grpChg chg="add del mod">
          <ac:chgData name="Bantei Sangma [Chillibreeze]" userId="e7070ce9-26a8-4d3a-99f4-f2ac4567d4da" providerId="ADAL" clId="{F2C4BB5F-38BF-4B7A-AF0B-55D83BBDADF7}" dt="2020-07-13T11:40:16.600" v="1237" actId="478"/>
          <ac:grpSpMkLst>
            <pc:docMk/>
            <pc:sldMk cId="1301972457" sldId="1511"/>
            <ac:grpSpMk id="54" creationId="{BF6EEC96-6984-4FD1-A739-866734BEC9DA}"/>
          </ac:grpSpMkLst>
        </pc:grpChg>
        <pc:grpChg chg="add del mod">
          <ac:chgData name="Bantei Sangma [Chillibreeze]" userId="e7070ce9-26a8-4d3a-99f4-f2ac4567d4da" providerId="ADAL" clId="{F2C4BB5F-38BF-4B7A-AF0B-55D83BBDADF7}" dt="2020-07-13T11:40:32.291" v="1242" actId="478"/>
          <ac:grpSpMkLst>
            <pc:docMk/>
            <pc:sldMk cId="1301972457" sldId="1511"/>
            <ac:grpSpMk id="57" creationId="{7738FFCB-6177-4FE9-A098-78018D0676CE}"/>
          </ac:grpSpMkLst>
        </pc:grpChg>
        <pc:grpChg chg="add del mod">
          <ac:chgData name="Bantei Sangma [Chillibreeze]" userId="e7070ce9-26a8-4d3a-99f4-f2ac4567d4da" providerId="ADAL" clId="{F2C4BB5F-38BF-4B7A-AF0B-55D83BBDADF7}" dt="2020-07-13T11:40:52.357" v="1249" actId="478"/>
          <ac:grpSpMkLst>
            <pc:docMk/>
            <pc:sldMk cId="1301972457" sldId="1511"/>
            <ac:grpSpMk id="60" creationId="{F219256E-EF16-438F-A9CA-B9EA1543F75E}"/>
          </ac:grpSpMkLst>
        </pc:grpChg>
        <pc:grpChg chg="add del mod">
          <ac:chgData name="Bantei Sangma [Chillibreeze]" userId="e7070ce9-26a8-4d3a-99f4-f2ac4567d4da" providerId="ADAL" clId="{F2C4BB5F-38BF-4B7A-AF0B-55D83BBDADF7}" dt="2020-07-13T11:40:41.044" v="1245" actId="478"/>
          <ac:grpSpMkLst>
            <pc:docMk/>
            <pc:sldMk cId="1301972457" sldId="1511"/>
            <ac:grpSpMk id="61" creationId="{26D39D81-310A-46F0-B1E6-9656B29D9B55}"/>
          </ac:grpSpMkLst>
        </pc:grpChg>
        <pc:grpChg chg="mod">
          <ac:chgData name="Bantei Sangma [Chillibreeze]" userId="e7070ce9-26a8-4d3a-99f4-f2ac4567d4da" providerId="ADAL" clId="{F2C4BB5F-38BF-4B7A-AF0B-55D83BBDADF7}" dt="2020-07-13T11:40:37.098" v="1244" actId="571"/>
          <ac:grpSpMkLst>
            <pc:docMk/>
            <pc:sldMk cId="1301972457" sldId="1511"/>
            <ac:grpSpMk id="62" creationId="{0B2208CB-E67E-4292-8CD5-A0CD1A8BF11C}"/>
          </ac:grpSpMkLst>
        </pc:grpChg>
        <pc:picChg chg="add del mod topLvl">
          <ac:chgData name="Bantei Sangma [Chillibreeze]" userId="e7070ce9-26a8-4d3a-99f4-f2ac4567d4da" providerId="ADAL" clId="{F2C4BB5F-38BF-4B7A-AF0B-55D83BBDADF7}" dt="2020-07-13T11:37:27.479" v="1176" actId="338"/>
          <ac:picMkLst>
            <pc:docMk/>
            <pc:sldMk cId="1301972457" sldId="1511"/>
            <ac:picMk id="4" creationId="{534F6136-0702-4CFB-AABA-68B66D5DA0F6}"/>
          </ac:picMkLst>
        </pc:picChg>
        <pc:picChg chg="del mod topLvl">
          <ac:chgData name="Bantei Sangma [Chillibreeze]" userId="e7070ce9-26a8-4d3a-99f4-f2ac4567d4da" providerId="ADAL" clId="{F2C4BB5F-38BF-4B7A-AF0B-55D83BBDADF7}" dt="2020-07-13T11:38:52.656" v="1209" actId="478"/>
          <ac:picMkLst>
            <pc:docMk/>
            <pc:sldMk cId="1301972457" sldId="1511"/>
            <ac:picMk id="6" creationId="{B11F4743-C48D-4BCD-A46D-5D8F33CEC0D3}"/>
          </ac:picMkLst>
        </pc:picChg>
        <pc:picChg chg="del mod topLvl">
          <ac:chgData name="Bantei Sangma [Chillibreeze]" userId="e7070ce9-26a8-4d3a-99f4-f2ac4567d4da" providerId="ADAL" clId="{F2C4BB5F-38BF-4B7A-AF0B-55D83BBDADF7}" dt="2020-07-13T11:39:07.340" v="1214" actId="478"/>
          <ac:picMkLst>
            <pc:docMk/>
            <pc:sldMk cId="1301972457" sldId="1511"/>
            <ac:picMk id="9" creationId="{4C18C018-D015-493A-A261-3E277AC1CDB1}"/>
          </ac:picMkLst>
        </pc:picChg>
        <pc:picChg chg="del mod topLvl">
          <ac:chgData name="Bantei Sangma [Chillibreeze]" userId="e7070ce9-26a8-4d3a-99f4-f2ac4567d4da" providerId="ADAL" clId="{F2C4BB5F-38BF-4B7A-AF0B-55D83BBDADF7}" dt="2020-07-13T11:39:18.334" v="1220" actId="478"/>
          <ac:picMkLst>
            <pc:docMk/>
            <pc:sldMk cId="1301972457" sldId="1511"/>
            <ac:picMk id="11" creationId="{D962F733-5C26-447D-B2C0-10DE97EDB627}"/>
          </ac:picMkLst>
        </pc:picChg>
        <pc:picChg chg="mod topLvl">
          <ac:chgData name="Bantei Sangma [Chillibreeze]" userId="e7070ce9-26a8-4d3a-99f4-f2ac4567d4da" providerId="ADAL" clId="{F2C4BB5F-38BF-4B7A-AF0B-55D83BBDADF7}" dt="2020-07-13T11:39:31.322" v="1224" actId="164"/>
          <ac:picMkLst>
            <pc:docMk/>
            <pc:sldMk cId="1301972457" sldId="1511"/>
            <ac:picMk id="22" creationId="{861F5803-18E9-4CD4-B57A-D01934D17FF9}"/>
          </ac:picMkLst>
        </pc:picChg>
        <pc:picChg chg="mod topLvl">
          <ac:chgData name="Bantei Sangma [Chillibreeze]" userId="e7070ce9-26a8-4d3a-99f4-f2ac4567d4da" providerId="ADAL" clId="{F2C4BB5F-38BF-4B7A-AF0B-55D83BBDADF7}" dt="2020-07-13T11:39:54.432" v="1233" actId="164"/>
          <ac:picMkLst>
            <pc:docMk/>
            <pc:sldMk cId="1301972457" sldId="1511"/>
            <ac:picMk id="23" creationId="{931C1531-FCAD-430B-B2D5-ADC13F4C1E00}"/>
          </ac:picMkLst>
        </pc:picChg>
        <pc:picChg chg="add del mod">
          <ac:chgData name="Bantei Sangma [Chillibreeze]" userId="e7070ce9-26a8-4d3a-99f4-f2ac4567d4da" providerId="ADAL" clId="{F2C4BB5F-38BF-4B7A-AF0B-55D83BBDADF7}" dt="2020-07-13T11:41:22.303" v="1258" actId="478"/>
          <ac:picMkLst>
            <pc:docMk/>
            <pc:sldMk cId="1301972457" sldId="1511"/>
            <ac:picMk id="24" creationId="{F7E9FC71-E534-4C97-B8A5-2CBC299DFD72}"/>
          </ac:picMkLst>
        </pc:picChg>
        <pc:picChg chg="mod topLvl">
          <ac:chgData name="Bantei Sangma [Chillibreeze]" userId="e7070ce9-26a8-4d3a-99f4-f2ac4567d4da" providerId="ADAL" clId="{F2C4BB5F-38BF-4B7A-AF0B-55D83BBDADF7}" dt="2020-07-13T11:40:35.848" v="1243" actId="164"/>
          <ac:picMkLst>
            <pc:docMk/>
            <pc:sldMk cId="1301972457" sldId="1511"/>
            <ac:picMk id="25" creationId="{F4802FDF-7277-4F5B-ADBD-4BB8E029D7BD}"/>
          </ac:picMkLst>
        </pc:picChg>
        <pc:picChg chg="mod topLvl">
          <ac:chgData name="Bantei Sangma [Chillibreeze]" userId="e7070ce9-26a8-4d3a-99f4-f2ac4567d4da" providerId="ADAL" clId="{F2C4BB5F-38BF-4B7A-AF0B-55D83BBDADF7}" dt="2020-07-13T11:40:21.467" v="1238" actId="164"/>
          <ac:picMkLst>
            <pc:docMk/>
            <pc:sldMk cId="1301972457" sldId="1511"/>
            <ac:picMk id="26" creationId="{3D1B43A8-86D1-48DD-A911-EC29AB1F9948}"/>
          </ac:picMkLst>
        </pc:picChg>
        <pc:picChg chg="add del mod">
          <ac:chgData name="Bantei Sangma [Chillibreeze]" userId="e7070ce9-26a8-4d3a-99f4-f2ac4567d4da" providerId="ADAL" clId="{F2C4BB5F-38BF-4B7A-AF0B-55D83BBDADF7}" dt="2020-07-13T11:41:22.303" v="1258" actId="478"/>
          <ac:picMkLst>
            <pc:docMk/>
            <pc:sldMk cId="1301972457" sldId="1511"/>
            <ac:picMk id="27" creationId="{71A2EEAB-776A-42A1-95AD-7601D1EA4DBA}"/>
          </ac:picMkLst>
        </pc:picChg>
        <pc:picChg chg="add del mod">
          <ac:chgData name="Bantei Sangma [Chillibreeze]" userId="e7070ce9-26a8-4d3a-99f4-f2ac4567d4da" providerId="ADAL" clId="{F2C4BB5F-38BF-4B7A-AF0B-55D83BBDADF7}" dt="2020-07-13T11:41:22.303" v="1258" actId="478"/>
          <ac:picMkLst>
            <pc:docMk/>
            <pc:sldMk cId="1301972457" sldId="1511"/>
            <ac:picMk id="28" creationId="{9099081E-FA2E-474B-884B-ADB5AA4F5E01}"/>
          </ac:picMkLst>
        </pc:picChg>
        <pc:picChg chg="add del mod">
          <ac:chgData name="Bantei Sangma [Chillibreeze]" userId="e7070ce9-26a8-4d3a-99f4-f2ac4567d4da" providerId="ADAL" clId="{F2C4BB5F-38BF-4B7A-AF0B-55D83BBDADF7}" dt="2020-07-13T11:41:22.303" v="1258" actId="478"/>
          <ac:picMkLst>
            <pc:docMk/>
            <pc:sldMk cId="1301972457" sldId="1511"/>
            <ac:picMk id="29" creationId="{E3A0022B-506D-4C71-9DB7-BC750C8233FF}"/>
          </ac:picMkLst>
        </pc:picChg>
        <pc:picChg chg="mod">
          <ac:chgData name="Bantei Sangma [Chillibreeze]" userId="e7070ce9-26a8-4d3a-99f4-f2ac4567d4da" providerId="ADAL" clId="{F2C4BB5F-38BF-4B7A-AF0B-55D83BBDADF7}" dt="2020-07-13T11:39:33.571" v="1226" actId="571"/>
          <ac:picMkLst>
            <pc:docMk/>
            <pc:sldMk cId="1301972457" sldId="1511"/>
            <ac:picMk id="47" creationId="{5BC565D4-7B47-4815-B62F-ACA29399DB78}"/>
          </ac:picMkLst>
        </pc:picChg>
        <pc:picChg chg="add del mod">
          <ac:chgData name="Bantei Sangma [Chillibreeze]" userId="e7070ce9-26a8-4d3a-99f4-f2ac4567d4da" providerId="ADAL" clId="{F2C4BB5F-38BF-4B7A-AF0B-55D83BBDADF7}" dt="2020-07-13T11:41:29.540" v="1259" actId="21"/>
          <ac:picMkLst>
            <pc:docMk/>
            <pc:sldMk cId="1301972457" sldId="1511"/>
            <ac:picMk id="51" creationId="{2F60B5A1-8911-49D5-807A-69B12165BA8C}"/>
          </ac:picMkLst>
        </pc:picChg>
        <pc:picChg chg="add del">
          <ac:chgData name="Bantei Sangma [Chillibreeze]" userId="e7070ce9-26a8-4d3a-99f4-f2ac4567d4da" providerId="ADAL" clId="{F2C4BB5F-38BF-4B7A-AF0B-55D83BBDADF7}" dt="2020-07-13T11:39:52.647" v="1232" actId="22"/>
          <ac:picMkLst>
            <pc:docMk/>
            <pc:sldMk cId="1301972457" sldId="1511"/>
            <ac:picMk id="53" creationId="{61E5DA54-C016-428C-95B0-B720F52C66B1}"/>
          </ac:picMkLst>
        </pc:picChg>
        <pc:picChg chg="add del mod">
          <ac:chgData name="Bantei Sangma [Chillibreeze]" userId="e7070ce9-26a8-4d3a-99f4-f2ac4567d4da" providerId="ADAL" clId="{F2C4BB5F-38BF-4B7A-AF0B-55D83BBDADF7}" dt="2020-07-13T11:41:36.664" v="1265" actId="21"/>
          <ac:picMkLst>
            <pc:docMk/>
            <pc:sldMk cId="1301972457" sldId="1511"/>
            <ac:picMk id="56" creationId="{5E1028C4-AF4B-495B-A81A-E069D6F82793}"/>
          </ac:picMkLst>
        </pc:picChg>
        <pc:picChg chg="add del mod">
          <ac:chgData name="Bantei Sangma [Chillibreeze]" userId="e7070ce9-26a8-4d3a-99f4-f2ac4567d4da" providerId="ADAL" clId="{F2C4BB5F-38BF-4B7A-AF0B-55D83BBDADF7}" dt="2020-07-13T11:41:42.904" v="1271" actId="21"/>
          <ac:picMkLst>
            <pc:docMk/>
            <pc:sldMk cId="1301972457" sldId="1511"/>
            <ac:picMk id="59" creationId="{714AAD2F-15CF-4AF0-911C-9D6CAD504416}"/>
          </ac:picMkLst>
        </pc:picChg>
        <pc:picChg chg="mod">
          <ac:chgData name="Bantei Sangma [Chillibreeze]" userId="e7070ce9-26a8-4d3a-99f4-f2ac4567d4da" providerId="ADAL" clId="{F2C4BB5F-38BF-4B7A-AF0B-55D83BBDADF7}" dt="2020-07-13T11:40:37.098" v="1244" actId="571"/>
          <ac:picMkLst>
            <pc:docMk/>
            <pc:sldMk cId="1301972457" sldId="1511"/>
            <ac:picMk id="63" creationId="{FD230395-72FD-49FD-B134-648B0BC1F676}"/>
          </ac:picMkLst>
        </pc:picChg>
        <pc:picChg chg="add del mod">
          <ac:chgData name="Bantei Sangma [Chillibreeze]" userId="e7070ce9-26a8-4d3a-99f4-f2ac4567d4da" providerId="ADAL" clId="{F2C4BB5F-38BF-4B7A-AF0B-55D83BBDADF7}" dt="2020-07-13T11:41:49.956" v="1277" actId="21"/>
          <ac:picMkLst>
            <pc:docMk/>
            <pc:sldMk cId="1301972457" sldId="1511"/>
            <ac:picMk id="67" creationId="{1FDE62AC-4969-4213-965E-F80B98C715F1}"/>
          </ac:picMkLst>
        </pc:picChg>
        <pc:picChg chg="add">
          <ac:chgData name="Bantei Sangma [Chillibreeze]" userId="e7070ce9-26a8-4d3a-99f4-f2ac4567d4da" providerId="ADAL" clId="{F2C4BB5F-38BF-4B7A-AF0B-55D83BBDADF7}" dt="2020-07-13T11:41:30.967" v="1260" actId="22"/>
          <ac:picMkLst>
            <pc:docMk/>
            <pc:sldMk cId="1301972457" sldId="1511"/>
            <ac:picMk id="69" creationId="{CEA2D256-A093-4839-B877-7FECEB5F0C63}"/>
          </ac:picMkLst>
        </pc:picChg>
        <pc:picChg chg="add">
          <ac:chgData name="Bantei Sangma [Chillibreeze]" userId="e7070ce9-26a8-4d3a-99f4-f2ac4567d4da" providerId="ADAL" clId="{F2C4BB5F-38BF-4B7A-AF0B-55D83BBDADF7}" dt="2020-07-13T11:41:37.366" v="1266" actId="22"/>
          <ac:picMkLst>
            <pc:docMk/>
            <pc:sldMk cId="1301972457" sldId="1511"/>
            <ac:picMk id="74" creationId="{75610433-DD06-49A8-B4EE-91F3BC6FCB69}"/>
          </ac:picMkLst>
        </pc:picChg>
        <pc:picChg chg="add">
          <ac:chgData name="Bantei Sangma [Chillibreeze]" userId="e7070ce9-26a8-4d3a-99f4-f2ac4567d4da" providerId="ADAL" clId="{F2C4BB5F-38BF-4B7A-AF0B-55D83BBDADF7}" dt="2020-07-13T11:41:43.907" v="1272" actId="22"/>
          <ac:picMkLst>
            <pc:docMk/>
            <pc:sldMk cId="1301972457" sldId="1511"/>
            <ac:picMk id="79" creationId="{6A1C0D09-F2C3-404A-A00D-79FF2E0D552E}"/>
          </ac:picMkLst>
        </pc:picChg>
        <pc:picChg chg="add">
          <ac:chgData name="Bantei Sangma [Chillibreeze]" userId="e7070ce9-26a8-4d3a-99f4-f2ac4567d4da" providerId="ADAL" clId="{F2C4BB5F-38BF-4B7A-AF0B-55D83BBDADF7}" dt="2020-07-13T11:41:50.715" v="1278" actId="22"/>
          <ac:picMkLst>
            <pc:docMk/>
            <pc:sldMk cId="1301972457" sldId="1511"/>
            <ac:picMk id="84" creationId="{59F22D1A-02A6-48C8-B25B-B75338A2366D}"/>
          </ac:picMkLst>
        </pc:picChg>
        <pc:cxnChg chg="del mod topLvl">
          <ac:chgData name="Bantei Sangma [Chillibreeze]" userId="e7070ce9-26a8-4d3a-99f4-f2ac4567d4da" providerId="ADAL" clId="{F2C4BB5F-38BF-4B7A-AF0B-55D83BBDADF7}" dt="2020-07-13T11:41:34.721" v="1263" actId="21"/>
          <ac:cxnSpMkLst>
            <pc:docMk/>
            <pc:sldMk cId="1301972457" sldId="1511"/>
            <ac:cxnSpMk id="8" creationId="{66E335E5-AA1C-420A-8BD2-F24A2761F84A}"/>
          </ac:cxnSpMkLst>
        </pc:cxnChg>
        <pc:cxnChg chg="del mod topLvl">
          <ac:chgData name="Bantei Sangma [Chillibreeze]" userId="e7070ce9-26a8-4d3a-99f4-f2ac4567d4da" providerId="ADAL" clId="{F2C4BB5F-38BF-4B7A-AF0B-55D83BBDADF7}" dt="2020-07-13T11:41:40.878" v="1269" actId="21"/>
          <ac:cxnSpMkLst>
            <pc:docMk/>
            <pc:sldMk cId="1301972457" sldId="1511"/>
            <ac:cxnSpMk id="17" creationId="{269C22AB-8FDA-4B01-8F9E-06EB0DB6054B}"/>
          </ac:cxnSpMkLst>
        </pc:cxnChg>
        <pc:cxnChg chg="del mod topLvl">
          <ac:chgData name="Bantei Sangma [Chillibreeze]" userId="e7070ce9-26a8-4d3a-99f4-f2ac4567d4da" providerId="ADAL" clId="{F2C4BB5F-38BF-4B7A-AF0B-55D83BBDADF7}" dt="2020-07-13T11:41:47.937" v="1275" actId="21"/>
          <ac:cxnSpMkLst>
            <pc:docMk/>
            <pc:sldMk cId="1301972457" sldId="1511"/>
            <ac:cxnSpMk id="18" creationId="{4C6D91F7-F413-4A0A-870D-3AA06F449826}"/>
          </ac:cxnSpMkLst>
        </pc:cxnChg>
        <pc:cxnChg chg="add mod">
          <ac:chgData name="Bantei Sangma [Chillibreeze]" userId="e7070ce9-26a8-4d3a-99f4-f2ac4567d4da" providerId="ADAL" clId="{F2C4BB5F-38BF-4B7A-AF0B-55D83BBDADF7}" dt="2020-07-13T11:41:35.273" v="1264"/>
          <ac:cxnSpMkLst>
            <pc:docMk/>
            <pc:sldMk cId="1301972457" sldId="1511"/>
            <ac:cxnSpMk id="72" creationId="{1BCB0BA4-8EFA-4944-B961-440E6FD320F2}"/>
          </ac:cxnSpMkLst>
        </pc:cxnChg>
        <pc:cxnChg chg="add mod">
          <ac:chgData name="Bantei Sangma [Chillibreeze]" userId="e7070ce9-26a8-4d3a-99f4-f2ac4567d4da" providerId="ADAL" clId="{F2C4BB5F-38BF-4B7A-AF0B-55D83BBDADF7}" dt="2020-07-13T11:41:41.464" v="1270"/>
          <ac:cxnSpMkLst>
            <pc:docMk/>
            <pc:sldMk cId="1301972457" sldId="1511"/>
            <ac:cxnSpMk id="77" creationId="{1C2D640B-139D-4416-8C92-ABF062EE21D6}"/>
          </ac:cxnSpMkLst>
        </pc:cxnChg>
        <pc:cxnChg chg="add mod">
          <ac:chgData name="Bantei Sangma [Chillibreeze]" userId="e7070ce9-26a8-4d3a-99f4-f2ac4567d4da" providerId="ADAL" clId="{F2C4BB5F-38BF-4B7A-AF0B-55D83BBDADF7}" dt="2020-07-13T11:41:48.509" v="1276"/>
          <ac:cxnSpMkLst>
            <pc:docMk/>
            <pc:sldMk cId="1301972457" sldId="1511"/>
            <ac:cxnSpMk id="82" creationId="{686E05EC-A36F-46CD-BE9D-5D32766C8348}"/>
          </ac:cxnSpMkLst>
        </pc:cxnChg>
      </pc:sldChg>
      <pc:sldChg chg="addSp delSp modSp mod">
        <pc:chgData name="Bantei Sangma [Chillibreeze]" userId="e7070ce9-26a8-4d3a-99f4-f2ac4567d4da" providerId="ADAL" clId="{F2C4BB5F-38BF-4B7A-AF0B-55D83BBDADF7}" dt="2020-07-13T11:34:51.256" v="1151" actId="22"/>
        <pc:sldMkLst>
          <pc:docMk/>
          <pc:sldMk cId="160164597" sldId="1512"/>
        </pc:sldMkLst>
        <pc:spChg chg="mod">
          <ac:chgData name="Bantei Sangma [Chillibreeze]" userId="e7070ce9-26a8-4d3a-99f4-f2ac4567d4da" providerId="ADAL" clId="{F2C4BB5F-38BF-4B7A-AF0B-55D83BBDADF7}" dt="2020-07-13T04:38:54.917" v="24"/>
          <ac:spMkLst>
            <pc:docMk/>
            <pc:sldMk cId="160164597" sldId="1512"/>
            <ac:spMk id="2" creationId="{128E00F7-426C-4FF1-A295-6EEA3032783F}"/>
          </ac:spMkLst>
        </pc:spChg>
        <pc:spChg chg="add mod">
          <ac:chgData name="Bantei Sangma [Chillibreeze]" userId="e7070ce9-26a8-4d3a-99f4-f2ac4567d4da" providerId="ADAL" clId="{F2C4BB5F-38BF-4B7A-AF0B-55D83BBDADF7}" dt="2020-07-13T11:34:24.726" v="1147" actId="13244"/>
          <ac:spMkLst>
            <pc:docMk/>
            <pc:sldMk cId="160164597" sldId="1512"/>
            <ac:spMk id="3" creationId="{B8ABF363-E56B-4052-B6F4-FBC7420F77EF}"/>
          </ac:spMkLst>
        </pc:spChg>
        <pc:spChg chg="add mod">
          <ac:chgData name="Bantei Sangma [Chillibreeze]" userId="e7070ce9-26a8-4d3a-99f4-f2ac4567d4da" providerId="ADAL" clId="{F2C4BB5F-38BF-4B7A-AF0B-55D83BBDADF7}" dt="2020-07-13T11:34:26.433" v="1148" actId="13244"/>
          <ac:spMkLst>
            <pc:docMk/>
            <pc:sldMk cId="160164597" sldId="1512"/>
            <ac:spMk id="7" creationId="{183F506C-D4ED-4DEA-BF1D-65A9E190186B}"/>
          </ac:spMkLst>
        </pc:spChg>
        <pc:spChg chg="add">
          <ac:chgData name="Bantei Sangma [Chillibreeze]" userId="e7070ce9-26a8-4d3a-99f4-f2ac4567d4da" providerId="ADAL" clId="{F2C4BB5F-38BF-4B7A-AF0B-55D83BBDADF7}" dt="2020-07-13T11:34:51.256" v="1151" actId="22"/>
          <ac:spMkLst>
            <pc:docMk/>
            <pc:sldMk cId="160164597" sldId="1512"/>
            <ac:spMk id="8" creationId="{D4CE55DD-A7D2-40B9-BA15-8335FBF2C6E5}"/>
          </ac:spMkLst>
        </pc:spChg>
        <pc:spChg chg="del mod">
          <ac:chgData name="Bantei Sangma [Chillibreeze]" userId="e7070ce9-26a8-4d3a-99f4-f2ac4567d4da" providerId="ADAL" clId="{F2C4BB5F-38BF-4B7A-AF0B-55D83BBDADF7}" dt="2020-07-13T11:33:52.167" v="1119" actId="478"/>
          <ac:spMkLst>
            <pc:docMk/>
            <pc:sldMk cId="160164597" sldId="1512"/>
            <ac:spMk id="14" creationId="{97BB312B-968E-4483-9CBF-AAA40E366DB0}"/>
          </ac:spMkLst>
        </pc:spChg>
        <pc:spChg chg="del mod">
          <ac:chgData name="Bantei Sangma [Chillibreeze]" userId="e7070ce9-26a8-4d3a-99f4-f2ac4567d4da" providerId="ADAL" clId="{F2C4BB5F-38BF-4B7A-AF0B-55D83BBDADF7}" dt="2020-07-13T11:34:21.698" v="1146" actId="478"/>
          <ac:spMkLst>
            <pc:docMk/>
            <pc:sldMk cId="160164597" sldId="1512"/>
            <ac:spMk id="15" creationId="{951084C3-F9EF-4285-84A5-AF51C332C8F7}"/>
          </ac:spMkLst>
        </pc:spChg>
        <pc:spChg chg="mod">
          <ac:chgData name="Bantei Sangma [Chillibreeze]" userId="e7070ce9-26a8-4d3a-99f4-f2ac4567d4da" providerId="ADAL" clId="{F2C4BB5F-38BF-4B7A-AF0B-55D83BBDADF7}" dt="2020-07-13T11:34:30.567" v="1149" actId="13244"/>
          <ac:spMkLst>
            <pc:docMk/>
            <pc:sldMk cId="160164597" sldId="1512"/>
            <ac:spMk id="16" creationId="{9D3FC70F-ED14-4C31-AFA9-BB0CA44C37BC}"/>
          </ac:spMkLst>
        </pc:spChg>
        <pc:picChg chg="mod">
          <ac:chgData name="Bantei Sangma [Chillibreeze]" userId="e7070ce9-26a8-4d3a-99f4-f2ac4567d4da" providerId="ADAL" clId="{F2C4BB5F-38BF-4B7A-AF0B-55D83BBDADF7}" dt="2020-07-13T11:34:37.796" v="1150" actId="13244"/>
          <ac:picMkLst>
            <pc:docMk/>
            <pc:sldMk cId="160164597" sldId="1512"/>
            <ac:picMk id="5" creationId="{4B80B36B-8256-4EC6-ABA3-A9E6A1A5252C}"/>
          </ac:picMkLst>
        </pc:picChg>
      </pc:sldChg>
      <pc:sldChg chg="addSp delSp modSp mod">
        <pc:chgData name="Bantei Sangma [Chillibreeze]" userId="e7070ce9-26a8-4d3a-99f4-f2ac4567d4da" providerId="ADAL" clId="{F2C4BB5F-38BF-4B7A-AF0B-55D83BBDADF7}" dt="2020-07-13T11:57:17.021" v="1556" actId="962"/>
        <pc:sldMkLst>
          <pc:docMk/>
          <pc:sldMk cId="316322398" sldId="1870"/>
        </pc:sldMkLst>
        <pc:spChg chg="mod">
          <ac:chgData name="Bantei Sangma [Chillibreeze]" userId="e7070ce9-26a8-4d3a-99f4-f2ac4567d4da" providerId="ADAL" clId="{F2C4BB5F-38BF-4B7A-AF0B-55D83BBDADF7}" dt="2020-07-13T11:54:47.510" v="1492" actId="338"/>
          <ac:spMkLst>
            <pc:docMk/>
            <pc:sldMk cId="316322398" sldId="1870"/>
            <ac:spMk id="2" creationId="{5F359BF1-DFBD-478C-ACA3-333D99FCFEDF}"/>
          </ac:spMkLst>
        </pc:spChg>
        <pc:spChg chg="del mod">
          <ac:chgData name="Bantei Sangma [Chillibreeze]" userId="e7070ce9-26a8-4d3a-99f4-f2ac4567d4da" providerId="ADAL" clId="{F2C4BB5F-38BF-4B7A-AF0B-55D83BBDADF7}" dt="2020-07-13T11:56:22.372" v="1521" actId="21"/>
          <ac:spMkLst>
            <pc:docMk/>
            <pc:sldMk cId="316322398" sldId="1870"/>
            <ac:spMk id="8" creationId="{FEF55901-E7BA-48EE-8BC0-03806F181D77}"/>
          </ac:spMkLst>
        </pc:spChg>
        <pc:spChg chg="mod">
          <ac:chgData name="Bantei Sangma [Chillibreeze]" userId="e7070ce9-26a8-4d3a-99f4-f2ac4567d4da" providerId="ADAL" clId="{F2C4BB5F-38BF-4B7A-AF0B-55D83BBDADF7}" dt="2020-07-13T06:09:14.098" v="198" actId="12789"/>
          <ac:spMkLst>
            <pc:docMk/>
            <pc:sldMk cId="316322398" sldId="1870"/>
            <ac:spMk id="9" creationId="{3692AEA8-7E4A-456C-B05E-F1C22306820B}"/>
          </ac:spMkLst>
        </pc:spChg>
        <pc:spChg chg="del mod">
          <ac:chgData name="Bantei Sangma [Chillibreeze]" userId="e7070ce9-26a8-4d3a-99f4-f2ac4567d4da" providerId="ADAL" clId="{F2C4BB5F-38BF-4B7A-AF0B-55D83BBDADF7}" dt="2020-07-13T11:56:29.961" v="1527" actId="21"/>
          <ac:spMkLst>
            <pc:docMk/>
            <pc:sldMk cId="316322398" sldId="1870"/>
            <ac:spMk id="10" creationId="{F89B5440-AF9A-4D0F-A1B6-976BA51B2279}"/>
          </ac:spMkLst>
        </pc:spChg>
        <pc:spChg chg="del mod">
          <ac:chgData name="Bantei Sangma [Chillibreeze]" userId="e7070ce9-26a8-4d3a-99f4-f2ac4567d4da" providerId="ADAL" clId="{F2C4BB5F-38BF-4B7A-AF0B-55D83BBDADF7}" dt="2020-07-13T11:56:37.826" v="1533" actId="21"/>
          <ac:spMkLst>
            <pc:docMk/>
            <pc:sldMk cId="316322398" sldId="1870"/>
            <ac:spMk id="12" creationId="{D5409F01-1B08-414F-9928-31BE4B3E29DE}"/>
          </ac:spMkLst>
        </pc:spChg>
        <pc:spChg chg="del mod">
          <ac:chgData name="Bantei Sangma [Chillibreeze]" userId="e7070ce9-26a8-4d3a-99f4-f2ac4567d4da" providerId="ADAL" clId="{F2C4BB5F-38BF-4B7A-AF0B-55D83BBDADF7}" dt="2020-07-13T11:56:45.362" v="1539" actId="21"/>
          <ac:spMkLst>
            <pc:docMk/>
            <pc:sldMk cId="316322398" sldId="1870"/>
            <ac:spMk id="14" creationId="{945A46B6-C7CF-4453-BAAE-03794F485BF4}"/>
          </ac:spMkLst>
        </pc:spChg>
        <pc:spChg chg="del mod">
          <ac:chgData name="Bantei Sangma [Chillibreeze]" userId="e7070ce9-26a8-4d3a-99f4-f2ac4567d4da" providerId="ADAL" clId="{F2C4BB5F-38BF-4B7A-AF0B-55D83BBDADF7}" dt="2020-07-13T11:56:54.132" v="1545" actId="21"/>
          <ac:spMkLst>
            <pc:docMk/>
            <pc:sldMk cId="316322398" sldId="1870"/>
            <ac:spMk id="16" creationId="{8A77DD0C-59C7-4C0F-9BC5-8FAC7F7EECA7}"/>
          </ac:spMkLst>
        </pc:spChg>
        <pc:spChg chg="mod">
          <ac:chgData name="Bantei Sangma [Chillibreeze]" userId="e7070ce9-26a8-4d3a-99f4-f2ac4567d4da" providerId="ADAL" clId="{F2C4BB5F-38BF-4B7A-AF0B-55D83BBDADF7}" dt="2020-07-13T06:09:35.684" v="200" actId="692"/>
          <ac:spMkLst>
            <pc:docMk/>
            <pc:sldMk cId="316322398" sldId="1870"/>
            <ac:spMk id="19" creationId="{4AFB65EE-26A2-4AEF-8BEF-754BC3533E29}"/>
          </ac:spMkLst>
        </pc:spChg>
        <pc:spChg chg="mod">
          <ac:chgData name="Bantei Sangma [Chillibreeze]" userId="e7070ce9-26a8-4d3a-99f4-f2ac4567d4da" providerId="ADAL" clId="{F2C4BB5F-38BF-4B7A-AF0B-55D83BBDADF7}" dt="2020-07-13T06:09:58.944" v="208"/>
          <ac:spMkLst>
            <pc:docMk/>
            <pc:sldMk cId="316322398" sldId="1870"/>
            <ac:spMk id="22" creationId="{D1862062-183F-4FD5-B71D-DB7202ABE5E4}"/>
          </ac:spMkLst>
        </pc:spChg>
        <pc:spChg chg="mod">
          <ac:chgData name="Bantei Sangma [Chillibreeze]" userId="e7070ce9-26a8-4d3a-99f4-f2ac4567d4da" providerId="ADAL" clId="{F2C4BB5F-38BF-4B7A-AF0B-55D83BBDADF7}" dt="2020-07-13T06:09:48.399" v="202"/>
          <ac:spMkLst>
            <pc:docMk/>
            <pc:sldMk cId="316322398" sldId="1870"/>
            <ac:spMk id="27" creationId="{91028A9E-5608-4B8B-A4D8-702F002D710E}"/>
          </ac:spMkLst>
        </pc:spChg>
        <pc:spChg chg="mod">
          <ac:chgData name="Bantei Sangma [Chillibreeze]" userId="e7070ce9-26a8-4d3a-99f4-f2ac4567d4da" providerId="ADAL" clId="{F2C4BB5F-38BF-4B7A-AF0B-55D83BBDADF7}" dt="2020-07-13T06:09:51.930" v="204"/>
          <ac:spMkLst>
            <pc:docMk/>
            <pc:sldMk cId="316322398" sldId="1870"/>
            <ac:spMk id="30" creationId="{D5ADAAFA-F982-467E-8ADF-FBA5F17A153A}"/>
          </ac:spMkLst>
        </pc:spChg>
        <pc:spChg chg="mod">
          <ac:chgData name="Bantei Sangma [Chillibreeze]" userId="e7070ce9-26a8-4d3a-99f4-f2ac4567d4da" providerId="ADAL" clId="{F2C4BB5F-38BF-4B7A-AF0B-55D83BBDADF7}" dt="2020-07-13T06:12:38.396" v="215" actId="12789"/>
          <ac:spMkLst>
            <pc:docMk/>
            <pc:sldMk cId="316322398" sldId="1870"/>
            <ac:spMk id="32" creationId="{52C9C4CE-73B1-4B8E-9700-4D21C9E221DF}"/>
          </ac:spMkLst>
        </pc:spChg>
        <pc:spChg chg="mod">
          <ac:chgData name="Bantei Sangma [Chillibreeze]" userId="e7070ce9-26a8-4d3a-99f4-f2ac4567d4da" providerId="ADAL" clId="{F2C4BB5F-38BF-4B7A-AF0B-55D83BBDADF7}" dt="2020-07-13T06:12:38.396" v="215" actId="12789"/>
          <ac:spMkLst>
            <pc:docMk/>
            <pc:sldMk cId="316322398" sldId="1870"/>
            <ac:spMk id="33" creationId="{60723F4D-8D68-4062-9DE7-1A08CF4E178F}"/>
          </ac:spMkLst>
        </pc:spChg>
        <pc:spChg chg="add del mod topLvl">
          <ac:chgData name="Bantei Sangma [Chillibreeze]" userId="e7070ce9-26a8-4d3a-99f4-f2ac4567d4da" providerId="ADAL" clId="{F2C4BB5F-38BF-4B7A-AF0B-55D83BBDADF7}" dt="2020-07-13T11:56:05.654" v="1517" actId="165"/>
          <ac:spMkLst>
            <pc:docMk/>
            <pc:sldMk cId="316322398" sldId="1870"/>
            <ac:spMk id="58" creationId="{EE8658E6-1951-44F5-B072-B5C36AABB0AF}"/>
          </ac:spMkLst>
        </pc:spChg>
        <pc:spChg chg="add del mod topLvl">
          <ac:chgData name="Bantei Sangma [Chillibreeze]" userId="e7070ce9-26a8-4d3a-99f4-f2ac4567d4da" providerId="ADAL" clId="{F2C4BB5F-38BF-4B7A-AF0B-55D83BBDADF7}" dt="2020-07-13T11:56:05.654" v="1517" actId="165"/>
          <ac:spMkLst>
            <pc:docMk/>
            <pc:sldMk cId="316322398" sldId="1870"/>
            <ac:spMk id="59" creationId="{DA44E647-63D1-4B53-806C-99AAB9B15C80}"/>
          </ac:spMkLst>
        </pc:spChg>
        <pc:spChg chg="add del mod topLvl">
          <ac:chgData name="Bantei Sangma [Chillibreeze]" userId="e7070ce9-26a8-4d3a-99f4-f2ac4567d4da" providerId="ADAL" clId="{F2C4BB5F-38BF-4B7A-AF0B-55D83BBDADF7}" dt="2020-07-13T11:56:05.654" v="1517" actId="165"/>
          <ac:spMkLst>
            <pc:docMk/>
            <pc:sldMk cId="316322398" sldId="1870"/>
            <ac:spMk id="60" creationId="{0A7B2EFA-DCF8-4C93-A2A3-A4766E383329}"/>
          </ac:spMkLst>
        </pc:spChg>
        <pc:spChg chg="add del mod topLvl">
          <ac:chgData name="Bantei Sangma [Chillibreeze]" userId="e7070ce9-26a8-4d3a-99f4-f2ac4567d4da" providerId="ADAL" clId="{F2C4BB5F-38BF-4B7A-AF0B-55D83BBDADF7}" dt="2020-07-13T11:56:05.654" v="1517" actId="165"/>
          <ac:spMkLst>
            <pc:docMk/>
            <pc:sldMk cId="316322398" sldId="1870"/>
            <ac:spMk id="61" creationId="{49E952D8-A0B7-4B02-9BB9-F033CD6ED66B}"/>
          </ac:spMkLst>
        </pc:spChg>
        <pc:spChg chg="add del mod topLvl">
          <ac:chgData name="Bantei Sangma [Chillibreeze]" userId="e7070ce9-26a8-4d3a-99f4-f2ac4567d4da" providerId="ADAL" clId="{F2C4BB5F-38BF-4B7A-AF0B-55D83BBDADF7}" dt="2020-07-13T11:56:05.654" v="1517" actId="165"/>
          <ac:spMkLst>
            <pc:docMk/>
            <pc:sldMk cId="316322398" sldId="1870"/>
            <ac:spMk id="62" creationId="{5C6F4D05-8139-4701-9325-5709882335A3}"/>
          </ac:spMkLst>
        </pc:spChg>
        <pc:spChg chg="add">
          <ac:chgData name="Bantei Sangma [Chillibreeze]" userId="e7070ce9-26a8-4d3a-99f4-f2ac4567d4da" providerId="ADAL" clId="{F2C4BB5F-38BF-4B7A-AF0B-55D83BBDADF7}" dt="2020-07-13T11:56:22.909" v="1522" actId="22"/>
          <ac:spMkLst>
            <pc:docMk/>
            <pc:sldMk cId="316322398" sldId="1870"/>
            <ac:spMk id="66" creationId="{3C5FA106-5E25-4554-AB17-915634ED251D}"/>
          </ac:spMkLst>
        </pc:spChg>
        <pc:spChg chg="add">
          <ac:chgData name="Bantei Sangma [Chillibreeze]" userId="e7070ce9-26a8-4d3a-99f4-f2ac4567d4da" providerId="ADAL" clId="{F2C4BB5F-38BF-4B7A-AF0B-55D83BBDADF7}" dt="2020-07-13T11:56:30.478" v="1528" actId="22"/>
          <ac:spMkLst>
            <pc:docMk/>
            <pc:sldMk cId="316322398" sldId="1870"/>
            <ac:spMk id="71" creationId="{D90624EA-5CBB-4AC1-A1C8-9BC7763B40F1}"/>
          </ac:spMkLst>
        </pc:spChg>
        <pc:spChg chg="add">
          <ac:chgData name="Bantei Sangma [Chillibreeze]" userId="e7070ce9-26a8-4d3a-99f4-f2ac4567d4da" providerId="ADAL" clId="{F2C4BB5F-38BF-4B7A-AF0B-55D83BBDADF7}" dt="2020-07-13T11:56:38.470" v="1534" actId="22"/>
          <ac:spMkLst>
            <pc:docMk/>
            <pc:sldMk cId="316322398" sldId="1870"/>
            <ac:spMk id="76" creationId="{0BC1C9E9-C916-4E5C-A06C-C3EFF19C97B9}"/>
          </ac:spMkLst>
        </pc:spChg>
        <pc:spChg chg="add">
          <ac:chgData name="Bantei Sangma [Chillibreeze]" userId="e7070ce9-26a8-4d3a-99f4-f2ac4567d4da" providerId="ADAL" clId="{F2C4BB5F-38BF-4B7A-AF0B-55D83BBDADF7}" dt="2020-07-13T11:56:45.851" v="1540" actId="22"/>
          <ac:spMkLst>
            <pc:docMk/>
            <pc:sldMk cId="316322398" sldId="1870"/>
            <ac:spMk id="81" creationId="{DCEF8158-9C5D-40C1-99A8-18E0CBDC5216}"/>
          </ac:spMkLst>
        </pc:spChg>
        <pc:spChg chg="add">
          <ac:chgData name="Bantei Sangma [Chillibreeze]" userId="e7070ce9-26a8-4d3a-99f4-f2ac4567d4da" providerId="ADAL" clId="{F2C4BB5F-38BF-4B7A-AF0B-55D83BBDADF7}" dt="2020-07-13T11:56:54.621" v="1546" actId="22"/>
          <ac:spMkLst>
            <pc:docMk/>
            <pc:sldMk cId="316322398" sldId="1870"/>
            <ac:spMk id="86" creationId="{6CB30D02-72B3-4DE7-BC4E-ED6BD3923780}"/>
          </ac:spMkLst>
        </pc:spChg>
        <pc:grpChg chg="mod">
          <ac:chgData name="Bantei Sangma [Chillibreeze]" userId="e7070ce9-26a8-4d3a-99f4-f2ac4567d4da" providerId="ADAL" clId="{F2C4BB5F-38BF-4B7A-AF0B-55D83BBDADF7}" dt="2020-07-13T11:54:47.510" v="1492" actId="338"/>
          <ac:grpSpMkLst>
            <pc:docMk/>
            <pc:sldMk cId="316322398" sldId="1870"/>
            <ac:grpSpMk id="1" creationId="{00000000-0000-0000-0000-000000000000}"/>
          </ac:grpSpMkLst>
        </pc:grpChg>
        <pc:grpChg chg="del">
          <ac:chgData name="Bantei Sangma [Chillibreeze]" userId="e7070ce9-26a8-4d3a-99f4-f2ac4567d4da" providerId="ADAL" clId="{F2C4BB5F-38BF-4B7A-AF0B-55D83BBDADF7}" dt="2020-07-13T04:42:03.819" v="36" actId="165"/>
          <ac:grpSpMkLst>
            <pc:docMk/>
            <pc:sldMk cId="316322398" sldId="1870"/>
            <ac:grpSpMk id="15" creationId="{43481F65-1AE6-4069-93AC-A98E56777082}"/>
          </ac:grpSpMkLst>
        </pc:grpChg>
        <pc:grpChg chg="mod">
          <ac:chgData name="Bantei Sangma [Chillibreeze]" userId="e7070ce9-26a8-4d3a-99f4-f2ac4567d4da" providerId="ADAL" clId="{F2C4BB5F-38BF-4B7A-AF0B-55D83BBDADF7}" dt="2020-07-13T06:12:28.234" v="213" actId="552"/>
          <ac:grpSpMkLst>
            <pc:docMk/>
            <pc:sldMk cId="316322398" sldId="1870"/>
            <ac:grpSpMk id="21" creationId="{63A1B2B1-D8BC-43E9-9844-BA37E18474C9}"/>
          </ac:grpSpMkLst>
        </pc:grpChg>
        <pc:grpChg chg="mod">
          <ac:chgData name="Bantei Sangma [Chillibreeze]" userId="e7070ce9-26a8-4d3a-99f4-f2ac4567d4da" providerId="ADAL" clId="{F2C4BB5F-38BF-4B7A-AF0B-55D83BBDADF7}" dt="2020-07-13T06:12:28.234" v="213" actId="552"/>
          <ac:grpSpMkLst>
            <pc:docMk/>
            <pc:sldMk cId="316322398" sldId="1870"/>
            <ac:grpSpMk id="22" creationId="{6A67E161-FC00-4EA6-B421-B365273D9925}"/>
          </ac:grpSpMkLst>
        </pc:grpChg>
        <pc:grpChg chg="mod">
          <ac:chgData name="Bantei Sangma [Chillibreeze]" userId="e7070ce9-26a8-4d3a-99f4-f2ac4567d4da" providerId="ADAL" clId="{F2C4BB5F-38BF-4B7A-AF0B-55D83BBDADF7}" dt="2020-07-13T06:12:28.234" v="213" actId="552"/>
          <ac:grpSpMkLst>
            <pc:docMk/>
            <pc:sldMk cId="316322398" sldId="1870"/>
            <ac:grpSpMk id="23" creationId="{3D9058B6-548B-4746-95FF-6D1139156FFA}"/>
          </ac:grpSpMkLst>
        </pc:grpChg>
        <pc:grpChg chg="mod">
          <ac:chgData name="Bantei Sangma [Chillibreeze]" userId="e7070ce9-26a8-4d3a-99f4-f2ac4567d4da" providerId="ADAL" clId="{F2C4BB5F-38BF-4B7A-AF0B-55D83BBDADF7}" dt="2020-07-13T06:12:28.234" v="213" actId="552"/>
          <ac:grpSpMkLst>
            <pc:docMk/>
            <pc:sldMk cId="316322398" sldId="1870"/>
            <ac:grpSpMk id="24" creationId="{25491E4A-E6AC-451C-864A-E82F9226D8CC}"/>
          </ac:grpSpMkLst>
        </pc:grpChg>
        <pc:grpChg chg="mod">
          <ac:chgData name="Bantei Sangma [Chillibreeze]" userId="e7070ce9-26a8-4d3a-99f4-f2ac4567d4da" providerId="ADAL" clId="{F2C4BB5F-38BF-4B7A-AF0B-55D83BBDADF7}" dt="2020-07-13T06:12:28.234" v="213" actId="552"/>
          <ac:grpSpMkLst>
            <pc:docMk/>
            <pc:sldMk cId="316322398" sldId="1870"/>
            <ac:grpSpMk id="37" creationId="{A405C499-62A9-421C-BF36-AE140C715C31}"/>
          </ac:grpSpMkLst>
        </pc:grpChg>
        <pc:grpChg chg="add del mod">
          <ac:chgData name="Bantei Sangma [Chillibreeze]" userId="e7070ce9-26a8-4d3a-99f4-f2ac4567d4da" providerId="ADAL" clId="{F2C4BB5F-38BF-4B7A-AF0B-55D83BBDADF7}" dt="2020-07-13T11:56:05.654" v="1517" actId="165"/>
          <ac:grpSpMkLst>
            <pc:docMk/>
            <pc:sldMk cId="316322398" sldId="1870"/>
            <ac:grpSpMk id="57" creationId="{54A8A360-B0F2-4D58-8A19-A87455C83DE1}"/>
          </ac:grpSpMkLst>
        </pc:grpChg>
        <pc:picChg chg="add del mod">
          <ac:chgData name="Bantei Sangma [Chillibreeze]" userId="e7070ce9-26a8-4d3a-99f4-f2ac4567d4da" providerId="ADAL" clId="{F2C4BB5F-38BF-4B7A-AF0B-55D83BBDADF7}" dt="2020-07-13T11:56:19.758" v="1519" actId="21"/>
          <ac:picMkLst>
            <pc:docMk/>
            <pc:sldMk cId="316322398" sldId="1870"/>
            <ac:picMk id="43" creationId="{53EA691F-846C-4933-A0B3-6DF4D24A223C}"/>
          </ac:picMkLst>
        </pc:picChg>
        <pc:picChg chg="del mod">
          <ac:chgData name="Bantei Sangma [Chillibreeze]" userId="e7070ce9-26a8-4d3a-99f4-f2ac4567d4da" providerId="ADAL" clId="{F2C4BB5F-38BF-4B7A-AF0B-55D83BBDADF7}" dt="2020-07-13T11:56:27.455" v="1525" actId="21"/>
          <ac:picMkLst>
            <pc:docMk/>
            <pc:sldMk cId="316322398" sldId="1870"/>
            <ac:picMk id="44" creationId="{04424C29-F1B5-4752-9AC1-0AB190BA74E9}"/>
          </ac:picMkLst>
        </pc:picChg>
        <pc:picChg chg="del mod">
          <ac:chgData name="Bantei Sangma [Chillibreeze]" userId="e7070ce9-26a8-4d3a-99f4-f2ac4567d4da" providerId="ADAL" clId="{F2C4BB5F-38BF-4B7A-AF0B-55D83BBDADF7}" dt="2020-07-13T11:56:35.165" v="1531" actId="21"/>
          <ac:picMkLst>
            <pc:docMk/>
            <pc:sldMk cId="316322398" sldId="1870"/>
            <ac:picMk id="46" creationId="{918772B7-A65E-4497-8281-773B6157AB6E}"/>
          </ac:picMkLst>
        </pc:picChg>
        <pc:picChg chg="del mod">
          <ac:chgData name="Bantei Sangma [Chillibreeze]" userId="e7070ce9-26a8-4d3a-99f4-f2ac4567d4da" providerId="ADAL" clId="{F2C4BB5F-38BF-4B7A-AF0B-55D83BBDADF7}" dt="2020-07-13T11:56:42.803" v="1537" actId="21"/>
          <ac:picMkLst>
            <pc:docMk/>
            <pc:sldMk cId="316322398" sldId="1870"/>
            <ac:picMk id="47" creationId="{25FABAF2-B88C-4E4C-B7EF-5E53A6BEE75F}"/>
          </ac:picMkLst>
        </pc:picChg>
        <pc:picChg chg="del mod">
          <ac:chgData name="Bantei Sangma [Chillibreeze]" userId="e7070ce9-26a8-4d3a-99f4-f2ac4567d4da" providerId="ADAL" clId="{F2C4BB5F-38BF-4B7A-AF0B-55D83BBDADF7}" dt="2020-07-13T11:56:51.595" v="1543" actId="21"/>
          <ac:picMkLst>
            <pc:docMk/>
            <pc:sldMk cId="316322398" sldId="1870"/>
            <ac:picMk id="48" creationId="{B1ED577F-FA0F-4DFA-A310-45CBA6BA3866}"/>
          </ac:picMkLst>
        </pc:picChg>
        <pc:picChg chg="add mod">
          <ac:chgData name="Bantei Sangma [Chillibreeze]" userId="e7070ce9-26a8-4d3a-99f4-f2ac4567d4da" providerId="ADAL" clId="{F2C4BB5F-38BF-4B7A-AF0B-55D83BBDADF7}" dt="2020-07-13T11:57:07.600" v="1548" actId="962"/>
          <ac:picMkLst>
            <pc:docMk/>
            <pc:sldMk cId="316322398" sldId="1870"/>
            <ac:picMk id="64" creationId="{9BDC84D6-527C-476E-9C51-D407CCDCF4D3}"/>
          </ac:picMkLst>
        </pc:picChg>
        <pc:picChg chg="add mod">
          <ac:chgData name="Bantei Sangma [Chillibreeze]" userId="e7070ce9-26a8-4d3a-99f4-f2ac4567d4da" providerId="ADAL" clId="{F2C4BB5F-38BF-4B7A-AF0B-55D83BBDADF7}" dt="2020-07-13T11:57:09.537" v="1550" actId="962"/>
          <ac:picMkLst>
            <pc:docMk/>
            <pc:sldMk cId="316322398" sldId="1870"/>
            <ac:picMk id="69" creationId="{317A890B-3824-44CD-BB68-E07DB5FEBA5A}"/>
          </ac:picMkLst>
        </pc:picChg>
        <pc:picChg chg="add mod">
          <ac:chgData name="Bantei Sangma [Chillibreeze]" userId="e7070ce9-26a8-4d3a-99f4-f2ac4567d4da" providerId="ADAL" clId="{F2C4BB5F-38BF-4B7A-AF0B-55D83BBDADF7}" dt="2020-07-13T11:57:11.900" v="1552" actId="962"/>
          <ac:picMkLst>
            <pc:docMk/>
            <pc:sldMk cId="316322398" sldId="1870"/>
            <ac:picMk id="74" creationId="{AE17C466-F312-4718-9884-5CBE7156F954}"/>
          </ac:picMkLst>
        </pc:picChg>
        <pc:picChg chg="add mod">
          <ac:chgData name="Bantei Sangma [Chillibreeze]" userId="e7070ce9-26a8-4d3a-99f4-f2ac4567d4da" providerId="ADAL" clId="{F2C4BB5F-38BF-4B7A-AF0B-55D83BBDADF7}" dt="2020-07-13T11:57:14.172" v="1554" actId="962"/>
          <ac:picMkLst>
            <pc:docMk/>
            <pc:sldMk cId="316322398" sldId="1870"/>
            <ac:picMk id="79" creationId="{CF3C5E95-9B70-4695-A942-9BC524EE666C}"/>
          </ac:picMkLst>
        </pc:picChg>
        <pc:picChg chg="add mod">
          <ac:chgData name="Bantei Sangma [Chillibreeze]" userId="e7070ce9-26a8-4d3a-99f4-f2ac4567d4da" providerId="ADAL" clId="{F2C4BB5F-38BF-4B7A-AF0B-55D83BBDADF7}" dt="2020-07-13T11:57:17.021" v="1556" actId="962"/>
          <ac:picMkLst>
            <pc:docMk/>
            <pc:sldMk cId="316322398" sldId="1870"/>
            <ac:picMk id="84" creationId="{733BCD05-E890-4F06-9B65-11799FE76E1D}"/>
          </ac:picMkLst>
        </pc:picChg>
        <pc:cxnChg chg="del mod topLvl">
          <ac:chgData name="Bantei Sangma [Chillibreeze]" userId="e7070ce9-26a8-4d3a-99f4-f2ac4567d4da" providerId="ADAL" clId="{F2C4BB5F-38BF-4B7A-AF0B-55D83BBDADF7}" dt="2020-07-13T11:56:24.247" v="1523" actId="21"/>
          <ac:cxnSpMkLst>
            <pc:docMk/>
            <pc:sldMk cId="316322398" sldId="1870"/>
            <ac:cxnSpMk id="4" creationId="{8596AC18-6995-4948-B61C-D474C096DD56}"/>
          </ac:cxnSpMkLst>
        </pc:cxnChg>
        <pc:cxnChg chg="del mod topLvl">
          <ac:chgData name="Bantei Sangma [Chillibreeze]" userId="e7070ce9-26a8-4d3a-99f4-f2ac4567d4da" providerId="ADAL" clId="{F2C4BB5F-38BF-4B7A-AF0B-55D83BBDADF7}" dt="2020-07-13T11:56:31.886" v="1529" actId="21"/>
          <ac:cxnSpMkLst>
            <pc:docMk/>
            <pc:sldMk cId="316322398" sldId="1870"/>
            <ac:cxnSpMk id="5" creationId="{FEAEA9BE-4AE5-4C37-9E2B-833B4F93F1FC}"/>
          </ac:cxnSpMkLst>
        </pc:cxnChg>
        <pc:cxnChg chg="del mod topLvl">
          <ac:chgData name="Bantei Sangma [Chillibreeze]" userId="e7070ce9-26a8-4d3a-99f4-f2ac4567d4da" providerId="ADAL" clId="{F2C4BB5F-38BF-4B7A-AF0B-55D83BBDADF7}" dt="2020-07-13T11:56:39.720" v="1535" actId="21"/>
          <ac:cxnSpMkLst>
            <pc:docMk/>
            <pc:sldMk cId="316322398" sldId="1870"/>
            <ac:cxnSpMk id="6" creationId="{8184C42D-7A1E-4A25-A66A-D2EBDC09FFB9}"/>
          </ac:cxnSpMkLst>
        </pc:cxnChg>
        <pc:cxnChg chg="del mod topLvl">
          <ac:chgData name="Bantei Sangma [Chillibreeze]" userId="e7070ce9-26a8-4d3a-99f4-f2ac4567d4da" providerId="ADAL" clId="{F2C4BB5F-38BF-4B7A-AF0B-55D83BBDADF7}" dt="2020-07-13T11:56:48.773" v="1541" actId="21"/>
          <ac:cxnSpMkLst>
            <pc:docMk/>
            <pc:sldMk cId="316322398" sldId="1870"/>
            <ac:cxnSpMk id="7" creationId="{150DC724-883C-4D6C-AD63-D8F4E81ACA5C}"/>
          </ac:cxnSpMkLst>
        </pc:cxnChg>
        <pc:cxnChg chg="add mod">
          <ac:chgData name="Bantei Sangma [Chillibreeze]" userId="e7070ce9-26a8-4d3a-99f4-f2ac4567d4da" providerId="ADAL" clId="{F2C4BB5F-38BF-4B7A-AF0B-55D83BBDADF7}" dt="2020-07-13T11:56:24.831" v="1524"/>
          <ac:cxnSpMkLst>
            <pc:docMk/>
            <pc:sldMk cId="316322398" sldId="1870"/>
            <ac:cxnSpMk id="67" creationId="{7A017D1E-285B-486F-A4F5-20F6F7DB78FD}"/>
          </ac:cxnSpMkLst>
        </pc:cxnChg>
        <pc:cxnChg chg="add mod">
          <ac:chgData name="Bantei Sangma [Chillibreeze]" userId="e7070ce9-26a8-4d3a-99f4-f2ac4567d4da" providerId="ADAL" clId="{F2C4BB5F-38BF-4B7A-AF0B-55D83BBDADF7}" dt="2020-07-13T11:56:32.496" v="1530"/>
          <ac:cxnSpMkLst>
            <pc:docMk/>
            <pc:sldMk cId="316322398" sldId="1870"/>
            <ac:cxnSpMk id="72" creationId="{531D1E68-F3A6-4DB0-B336-E25B3753458C}"/>
          </ac:cxnSpMkLst>
        </pc:cxnChg>
        <pc:cxnChg chg="add mod">
          <ac:chgData name="Bantei Sangma [Chillibreeze]" userId="e7070ce9-26a8-4d3a-99f4-f2ac4567d4da" providerId="ADAL" clId="{F2C4BB5F-38BF-4B7A-AF0B-55D83BBDADF7}" dt="2020-07-13T11:56:40.235" v="1536"/>
          <ac:cxnSpMkLst>
            <pc:docMk/>
            <pc:sldMk cId="316322398" sldId="1870"/>
            <ac:cxnSpMk id="77" creationId="{DA162D0B-EDCD-41AC-8733-0A944FE45D4C}"/>
          </ac:cxnSpMkLst>
        </pc:cxnChg>
        <pc:cxnChg chg="add mod">
          <ac:chgData name="Bantei Sangma [Chillibreeze]" userId="e7070ce9-26a8-4d3a-99f4-f2ac4567d4da" providerId="ADAL" clId="{F2C4BB5F-38BF-4B7A-AF0B-55D83BBDADF7}" dt="2020-07-13T11:56:49.017" v="1542"/>
          <ac:cxnSpMkLst>
            <pc:docMk/>
            <pc:sldMk cId="316322398" sldId="1870"/>
            <ac:cxnSpMk id="82" creationId="{EFCB1A3B-823F-44E9-8A2F-449016C27A70}"/>
          </ac:cxnSpMkLst>
        </pc:cxnChg>
      </pc:sldChg>
      <pc:sldChg chg="addSp delSp modSp mod">
        <pc:chgData name="Bantei Sangma [Chillibreeze]" userId="e7070ce9-26a8-4d3a-99f4-f2ac4567d4da" providerId="ADAL" clId="{F2C4BB5F-38BF-4B7A-AF0B-55D83BBDADF7}" dt="2020-07-13T11:54:24.836" v="1490" actId="22"/>
        <pc:sldMkLst>
          <pc:docMk/>
          <pc:sldMk cId="3665884044" sldId="1871"/>
        </pc:sldMkLst>
        <pc:spChg chg="mod">
          <ac:chgData name="Bantei Sangma [Chillibreeze]" userId="e7070ce9-26a8-4d3a-99f4-f2ac4567d4da" providerId="ADAL" clId="{F2C4BB5F-38BF-4B7A-AF0B-55D83BBDADF7}" dt="2020-07-13T11:45:58.548" v="1340" actId="338"/>
          <ac:spMkLst>
            <pc:docMk/>
            <pc:sldMk cId="3665884044" sldId="1871"/>
            <ac:spMk id="2" creationId="{5F359BF1-DFBD-478C-ACA3-333D99FCFEDF}"/>
          </ac:spMkLst>
        </pc:spChg>
        <pc:spChg chg="del mod topLvl">
          <ac:chgData name="Bantei Sangma [Chillibreeze]" userId="e7070ce9-26a8-4d3a-99f4-f2ac4567d4da" providerId="ADAL" clId="{F2C4BB5F-38BF-4B7A-AF0B-55D83BBDADF7}" dt="2020-07-13T11:46:06.894" v="1343" actId="478"/>
          <ac:spMkLst>
            <pc:docMk/>
            <pc:sldMk cId="3665884044" sldId="1871"/>
            <ac:spMk id="10" creationId="{D52EABC4-C555-4D06-8429-CA163957CED7}"/>
          </ac:spMkLst>
        </pc:spChg>
        <pc:spChg chg="mod topLvl">
          <ac:chgData name="Bantei Sangma [Chillibreeze]" userId="e7070ce9-26a8-4d3a-99f4-f2ac4567d4da" providerId="ADAL" clId="{F2C4BB5F-38BF-4B7A-AF0B-55D83BBDADF7}" dt="2020-07-13T11:47:05.341" v="1356" actId="164"/>
          <ac:spMkLst>
            <pc:docMk/>
            <pc:sldMk cId="3665884044" sldId="1871"/>
            <ac:spMk id="12" creationId="{217DCA1F-FE62-4837-BE0C-3EBBF5CC4B7A}"/>
          </ac:spMkLst>
        </pc:spChg>
        <pc:spChg chg="del mod topLvl">
          <ac:chgData name="Bantei Sangma [Chillibreeze]" userId="e7070ce9-26a8-4d3a-99f4-f2ac4567d4da" providerId="ADAL" clId="{F2C4BB5F-38BF-4B7A-AF0B-55D83BBDADF7}" dt="2020-07-13T11:46:16.361" v="1346" actId="478"/>
          <ac:spMkLst>
            <pc:docMk/>
            <pc:sldMk cId="3665884044" sldId="1871"/>
            <ac:spMk id="13" creationId="{4E23CDB7-76B5-46E5-999E-41CFECC235A2}"/>
          </ac:spMkLst>
        </pc:spChg>
        <pc:spChg chg="mod topLvl">
          <ac:chgData name="Bantei Sangma [Chillibreeze]" userId="e7070ce9-26a8-4d3a-99f4-f2ac4567d4da" providerId="ADAL" clId="{F2C4BB5F-38BF-4B7A-AF0B-55D83BBDADF7}" dt="2020-07-13T11:47:05.341" v="1356" actId="164"/>
          <ac:spMkLst>
            <pc:docMk/>
            <pc:sldMk cId="3665884044" sldId="1871"/>
            <ac:spMk id="14" creationId="{60FA6292-FBA3-4235-8841-08F6C2302E3B}"/>
          </ac:spMkLst>
        </pc:spChg>
        <pc:spChg chg="del mod">
          <ac:chgData name="Bantei Sangma [Chillibreeze]" userId="e7070ce9-26a8-4d3a-99f4-f2ac4567d4da" providerId="ADAL" clId="{F2C4BB5F-38BF-4B7A-AF0B-55D83BBDADF7}" dt="2020-07-13T11:53:50.834" v="1465" actId="21"/>
          <ac:spMkLst>
            <pc:docMk/>
            <pc:sldMk cId="3665884044" sldId="1871"/>
            <ac:spMk id="35" creationId="{47CA7872-3E02-42E1-BB4A-BAA233B4E4A2}"/>
          </ac:spMkLst>
        </pc:spChg>
        <pc:spChg chg="mod">
          <ac:chgData name="Bantei Sangma [Chillibreeze]" userId="e7070ce9-26a8-4d3a-99f4-f2ac4567d4da" providerId="ADAL" clId="{F2C4BB5F-38BF-4B7A-AF0B-55D83BBDADF7}" dt="2020-07-13T11:47:20.691" v="1360" actId="571"/>
          <ac:spMkLst>
            <pc:docMk/>
            <pc:sldMk cId="3665884044" sldId="1871"/>
            <ac:spMk id="38" creationId="{0B18AD6E-3151-40BB-9C77-4D1367368E9D}"/>
          </ac:spMkLst>
        </pc:spChg>
        <pc:spChg chg="mod">
          <ac:chgData name="Bantei Sangma [Chillibreeze]" userId="e7070ce9-26a8-4d3a-99f4-f2ac4567d4da" providerId="ADAL" clId="{F2C4BB5F-38BF-4B7A-AF0B-55D83BBDADF7}" dt="2020-07-13T11:47:20.691" v="1360" actId="571"/>
          <ac:spMkLst>
            <pc:docMk/>
            <pc:sldMk cId="3665884044" sldId="1871"/>
            <ac:spMk id="39" creationId="{9BF0C7EC-F7E4-469B-A696-E77EA599C65D}"/>
          </ac:spMkLst>
        </pc:spChg>
        <pc:spChg chg="del mod">
          <ac:chgData name="Bantei Sangma [Chillibreeze]" userId="e7070ce9-26a8-4d3a-99f4-f2ac4567d4da" providerId="ADAL" clId="{F2C4BB5F-38BF-4B7A-AF0B-55D83BBDADF7}" dt="2020-07-13T11:54:19.338" v="1485" actId="21"/>
          <ac:spMkLst>
            <pc:docMk/>
            <pc:sldMk cId="3665884044" sldId="1871"/>
            <ac:spMk id="40" creationId="{33D85280-AB98-4966-B839-92895C2F0F1A}"/>
          </ac:spMkLst>
        </pc:spChg>
        <pc:spChg chg="del mod">
          <ac:chgData name="Bantei Sangma [Chillibreeze]" userId="e7070ce9-26a8-4d3a-99f4-f2ac4567d4da" providerId="ADAL" clId="{F2C4BB5F-38BF-4B7A-AF0B-55D83BBDADF7}" dt="2020-07-13T11:54:08.584" v="1477" actId="21"/>
          <ac:spMkLst>
            <pc:docMk/>
            <pc:sldMk cId="3665884044" sldId="1871"/>
            <ac:spMk id="42" creationId="{6F5B4E5A-3D02-4D97-B0C5-F934A276D27F}"/>
          </ac:spMkLst>
        </pc:spChg>
        <pc:spChg chg="mod">
          <ac:chgData name="Bantei Sangma [Chillibreeze]" userId="e7070ce9-26a8-4d3a-99f4-f2ac4567d4da" providerId="ADAL" clId="{F2C4BB5F-38BF-4B7A-AF0B-55D83BBDADF7}" dt="2020-07-13T11:47:36.376" v="1365" actId="571"/>
          <ac:spMkLst>
            <pc:docMk/>
            <pc:sldMk cId="3665884044" sldId="1871"/>
            <ac:spMk id="43" creationId="{11C161D9-5EE8-46F9-B25A-D988A8397C71}"/>
          </ac:spMkLst>
        </pc:spChg>
        <pc:spChg chg="mod">
          <ac:chgData name="Bantei Sangma [Chillibreeze]" userId="e7070ce9-26a8-4d3a-99f4-f2ac4567d4da" providerId="ADAL" clId="{F2C4BB5F-38BF-4B7A-AF0B-55D83BBDADF7}" dt="2020-07-13T11:47:36.376" v="1365" actId="571"/>
          <ac:spMkLst>
            <pc:docMk/>
            <pc:sldMk cId="3665884044" sldId="1871"/>
            <ac:spMk id="44" creationId="{EAD07EBB-CB66-4B03-AF20-4D22374F7F2D}"/>
          </ac:spMkLst>
        </pc:spChg>
        <pc:spChg chg="del mod">
          <ac:chgData name="Bantei Sangma [Chillibreeze]" userId="e7070ce9-26a8-4d3a-99f4-f2ac4567d4da" providerId="ADAL" clId="{F2C4BB5F-38BF-4B7A-AF0B-55D83BBDADF7}" dt="2020-07-13T11:54:03.616" v="1473" actId="21"/>
          <ac:spMkLst>
            <pc:docMk/>
            <pc:sldMk cId="3665884044" sldId="1871"/>
            <ac:spMk id="50" creationId="{24701312-AC51-4989-BA55-330ACCF4A5B8}"/>
          </ac:spMkLst>
        </pc:spChg>
        <pc:spChg chg="del mod">
          <ac:chgData name="Bantei Sangma [Chillibreeze]" userId="e7070ce9-26a8-4d3a-99f4-f2ac4567d4da" providerId="ADAL" clId="{F2C4BB5F-38BF-4B7A-AF0B-55D83BBDADF7}" dt="2020-07-13T11:53:58.576" v="1469" actId="21"/>
          <ac:spMkLst>
            <pc:docMk/>
            <pc:sldMk cId="3665884044" sldId="1871"/>
            <ac:spMk id="55" creationId="{81F9B736-E370-4F54-830D-6508AD80BC2C}"/>
          </ac:spMkLst>
        </pc:spChg>
        <pc:spChg chg="mod">
          <ac:chgData name="Bantei Sangma [Chillibreeze]" userId="e7070ce9-26a8-4d3a-99f4-f2ac4567d4da" providerId="ADAL" clId="{F2C4BB5F-38BF-4B7A-AF0B-55D83BBDADF7}" dt="2020-07-13T11:49:25.005" v="1389" actId="571"/>
          <ac:spMkLst>
            <pc:docMk/>
            <pc:sldMk cId="3665884044" sldId="1871"/>
            <ac:spMk id="59" creationId="{9BCF608C-8785-455B-888F-1A107C754D61}"/>
          </ac:spMkLst>
        </pc:spChg>
        <pc:spChg chg="del mod">
          <ac:chgData name="Bantei Sangma [Chillibreeze]" userId="e7070ce9-26a8-4d3a-99f4-f2ac4567d4da" providerId="ADAL" clId="{F2C4BB5F-38BF-4B7A-AF0B-55D83BBDADF7}" dt="2020-07-13T11:54:13.733" v="1481" actId="21"/>
          <ac:spMkLst>
            <pc:docMk/>
            <pc:sldMk cId="3665884044" sldId="1871"/>
            <ac:spMk id="60" creationId="{C0C31B35-B60C-43DB-8AC6-B5BFC7E9FE7E}"/>
          </ac:spMkLst>
        </pc:spChg>
        <pc:spChg chg="mod">
          <ac:chgData name="Bantei Sangma [Chillibreeze]" userId="e7070ce9-26a8-4d3a-99f4-f2ac4567d4da" providerId="ADAL" clId="{F2C4BB5F-38BF-4B7A-AF0B-55D83BBDADF7}" dt="2020-07-13T11:49:25.005" v="1389" actId="571"/>
          <ac:spMkLst>
            <pc:docMk/>
            <pc:sldMk cId="3665884044" sldId="1871"/>
            <ac:spMk id="61" creationId="{4D0502F8-59FF-42DE-BC5D-AB2373E68D80}"/>
          </ac:spMkLst>
        </pc:spChg>
        <pc:spChg chg="mod">
          <ac:chgData name="Bantei Sangma [Chillibreeze]" userId="e7070ce9-26a8-4d3a-99f4-f2ac4567d4da" providerId="ADAL" clId="{F2C4BB5F-38BF-4B7A-AF0B-55D83BBDADF7}" dt="2020-07-13T11:49:37.263" v="1394" actId="571"/>
          <ac:spMkLst>
            <pc:docMk/>
            <pc:sldMk cId="3665884044" sldId="1871"/>
            <ac:spMk id="63" creationId="{A8E8713E-EF8E-4D70-B510-23D71805847D}"/>
          </ac:spMkLst>
        </pc:spChg>
        <pc:spChg chg="mod">
          <ac:chgData name="Bantei Sangma [Chillibreeze]" userId="e7070ce9-26a8-4d3a-99f4-f2ac4567d4da" providerId="ADAL" clId="{F2C4BB5F-38BF-4B7A-AF0B-55D83BBDADF7}" dt="2020-07-13T11:49:37.263" v="1394" actId="571"/>
          <ac:spMkLst>
            <pc:docMk/>
            <pc:sldMk cId="3665884044" sldId="1871"/>
            <ac:spMk id="64" creationId="{2106E853-0E7D-4F3A-9F0B-F6A3025CFF3A}"/>
          </ac:spMkLst>
        </pc:spChg>
        <pc:spChg chg="mod">
          <ac:chgData name="Bantei Sangma [Chillibreeze]" userId="e7070ce9-26a8-4d3a-99f4-f2ac4567d4da" providerId="ADAL" clId="{F2C4BB5F-38BF-4B7A-AF0B-55D83BBDADF7}" dt="2020-07-13T11:49:48.171" v="1399" actId="571"/>
          <ac:spMkLst>
            <pc:docMk/>
            <pc:sldMk cId="3665884044" sldId="1871"/>
            <ac:spMk id="66" creationId="{4B1F8449-A37F-4CF7-A254-B575EC0D7C47}"/>
          </ac:spMkLst>
        </pc:spChg>
        <pc:spChg chg="mod">
          <ac:chgData name="Bantei Sangma [Chillibreeze]" userId="e7070ce9-26a8-4d3a-99f4-f2ac4567d4da" providerId="ADAL" clId="{F2C4BB5F-38BF-4B7A-AF0B-55D83BBDADF7}" dt="2020-07-13T11:49:48.171" v="1399" actId="571"/>
          <ac:spMkLst>
            <pc:docMk/>
            <pc:sldMk cId="3665884044" sldId="1871"/>
            <ac:spMk id="67" creationId="{C2FA0AC3-CC14-4687-917B-36013F34F63E}"/>
          </ac:spMkLst>
        </pc:spChg>
        <pc:spChg chg="mod">
          <ac:chgData name="Bantei Sangma [Chillibreeze]" userId="e7070ce9-26a8-4d3a-99f4-f2ac4567d4da" providerId="ADAL" clId="{F2C4BB5F-38BF-4B7A-AF0B-55D83BBDADF7}" dt="2020-07-13T11:50:04.063" v="1404" actId="571"/>
          <ac:spMkLst>
            <pc:docMk/>
            <pc:sldMk cId="3665884044" sldId="1871"/>
            <ac:spMk id="69" creationId="{CFB91589-C6EE-4464-BF3D-EC4CFF900468}"/>
          </ac:spMkLst>
        </pc:spChg>
        <pc:spChg chg="mod">
          <ac:chgData name="Bantei Sangma [Chillibreeze]" userId="e7070ce9-26a8-4d3a-99f4-f2ac4567d4da" providerId="ADAL" clId="{F2C4BB5F-38BF-4B7A-AF0B-55D83BBDADF7}" dt="2020-07-13T11:50:04.063" v="1404" actId="571"/>
          <ac:spMkLst>
            <pc:docMk/>
            <pc:sldMk cId="3665884044" sldId="1871"/>
            <ac:spMk id="70" creationId="{3BABA6E6-4176-4524-941A-49BC00EE643B}"/>
          </ac:spMkLst>
        </pc:spChg>
        <pc:spChg chg="add">
          <ac:chgData name="Bantei Sangma [Chillibreeze]" userId="e7070ce9-26a8-4d3a-99f4-f2ac4567d4da" providerId="ADAL" clId="{F2C4BB5F-38BF-4B7A-AF0B-55D83BBDADF7}" dt="2020-07-13T11:53:51.318" v="1466" actId="22"/>
          <ac:spMkLst>
            <pc:docMk/>
            <pc:sldMk cId="3665884044" sldId="1871"/>
            <ac:spMk id="74" creationId="{4E760789-7970-4A87-9374-2262B3CC99E1}"/>
          </ac:spMkLst>
        </pc:spChg>
        <pc:spChg chg="add">
          <ac:chgData name="Bantei Sangma [Chillibreeze]" userId="e7070ce9-26a8-4d3a-99f4-f2ac4567d4da" providerId="ADAL" clId="{F2C4BB5F-38BF-4B7A-AF0B-55D83BBDADF7}" dt="2020-07-13T11:53:59.215" v="1470" actId="22"/>
          <ac:spMkLst>
            <pc:docMk/>
            <pc:sldMk cId="3665884044" sldId="1871"/>
            <ac:spMk id="76" creationId="{0AE51020-D473-475B-84BC-5F5A2266AAF5}"/>
          </ac:spMkLst>
        </pc:spChg>
        <pc:spChg chg="add">
          <ac:chgData name="Bantei Sangma [Chillibreeze]" userId="e7070ce9-26a8-4d3a-99f4-f2ac4567d4da" providerId="ADAL" clId="{F2C4BB5F-38BF-4B7A-AF0B-55D83BBDADF7}" dt="2020-07-13T11:54:04.225" v="1474" actId="22"/>
          <ac:spMkLst>
            <pc:docMk/>
            <pc:sldMk cId="3665884044" sldId="1871"/>
            <ac:spMk id="78" creationId="{6073FCB9-C537-4312-B7EE-4430FA72E19C}"/>
          </ac:spMkLst>
        </pc:spChg>
        <pc:spChg chg="add">
          <ac:chgData name="Bantei Sangma [Chillibreeze]" userId="e7070ce9-26a8-4d3a-99f4-f2ac4567d4da" providerId="ADAL" clId="{F2C4BB5F-38BF-4B7A-AF0B-55D83BBDADF7}" dt="2020-07-13T11:54:09.208" v="1478" actId="22"/>
          <ac:spMkLst>
            <pc:docMk/>
            <pc:sldMk cId="3665884044" sldId="1871"/>
            <ac:spMk id="80" creationId="{0F57DD84-08F3-4E42-AB76-3813CF5105A4}"/>
          </ac:spMkLst>
        </pc:spChg>
        <pc:spChg chg="add">
          <ac:chgData name="Bantei Sangma [Chillibreeze]" userId="e7070ce9-26a8-4d3a-99f4-f2ac4567d4da" providerId="ADAL" clId="{F2C4BB5F-38BF-4B7A-AF0B-55D83BBDADF7}" dt="2020-07-13T11:54:14.297" v="1482" actId="22"/>
          <ac:spMkLst>
            <pc:docMk/>
            <pc:sldMk cId="3665884044" sldId="1871"/>
            <ac:spMk id="82" creationId="{F7E42044-D4BE-4B4D-AB2A-48C10130BA7D}"/>
          </ac:spMkLst>
        </pc:spChg>
        <pc:spChg chg="add">
          <ac:chgData name="Bantei Sangma [Chillibreeze]" userId="e7070ce9-26a8-4d3a-99f4-f2ac4567d4da" providerId="ADAL" clId="{F2C4BB5F-38BF-4B7A-AF0B-55D83BBDADF7}" dt="2020-07-13T11:54:19.832" v="1486" actId="22"/>
          <ac:spMkLst>
            <pc:docMk/>
            <pc:sldMk cId="3665884044" sldId="1871"/>
            <ac:spMk id="84" creationId="{73300FEC-ED42-4B07-A579-2EC939F4E98B}"/>
          </ac:spMkLst>
        </pc:spChg>
        <pc:spChg chg="add">
          <ac:chgData name="Bantei Sangma [Chillibreeze]" userId="e7070ce9-26a8-4d3a-99f4-f2ac4567d4da" providerId="ADAL" clId="{F2C4BB5F-38BF-4B7A-AF0B-55D83BBDADF7}" dt="2020-07-13T11:54:24.836" v="1490" actId="22"/>
          <ac:spMkLst>
            <pc:docMk/>
            <pc:sldMk cId="3665884044" sldId="1871"/>
            <ac:spMk id="87" creationId="{D5740B6C-6D17-4E88-83D9-7450D12D993D}"/>
          </ac:spMkLst>
        </pc:spChg>
        <pc:spChg chg="del mod">
          <ac:chgData name="Bantei Sangma [Chillibreeze]" userId="e7070ce9-26a8-4d3a-99f4-f2ac4567d4da" providerId="ADAL" clId="{F2C4BB5F-38BF-4B7A-AF0B-55D83BBDADF7}" dt="2020-07-13T11:54:24.278" v="1489" actId="21"/>
          <ac:spMkLst>
            <pc:docMk/>
            <pc:sldMk cId="3665884044" sldId="1871"/>
            <ac:spMk id="99" creationId="{7906BC30-F4C1-4B43-9982-B02F31ED5CD2}"/>
          </ac:spMkLst>
        </pc:spChg>
        <pc:grpChg chg="mod">
          <ac:chgData name="Bantei Sangma [Chillibreeze]" userId="e7070ce9-26a8-4d3a-99f4-f2ac4567d4da" providerId="ADAL" clId="{F2C4BB5F-38BF-4B7A-AF0B-55D83BBDADF7}" dt="2020-07-13T11:45:58.548" v="1340" actId="338"/>
          <ac:grpSpMkLst>
            <pc:docMk/>
            <pc:sldMk cId="3665884044" sldId="1871"/>
            <ac:grpSpMk id="1" creationId="{00000000-0000-0000-0000-000000000000}"/>
          </ac:grpSpMkLst>
        </pc:grpChg>
        <pc:grpChg chg="add del mod">
          <ac:chgData name="Bantei Sangma [Chillibreeze]" userId="e7070ce9-26a8-4d3a-99f4-f2ac4567d4da" providerId="ADAL" clId="{F2C4BB5F-38BF-4B7A-AF0B-55D83BBDADF7}" dt="2020-07-13T11:45:49.541" v="1339" actId="165"/>
          <ac:grpSpMkLst>
            <pc:docMk/>
            <pc:sldMk cId="3665884044" sldId="1871"/>
            <ac:grpSpMk id="3" creationId="{691F4F55-42A5-40D2-875C-74CDC15AA751}"/>
          </ac:grpSpMkLst>
        </pc:grpChg>
        <pc:grpChg chg="add del mod">
          <ac:chgData name="Bantei Sangma [Chillibreeze]" userId="e7070ce9-26a8-4d3a-99f4-f2ac4567d4da" providerId="ADAL" clId="{F2C4BB5F-38BF-4B7A-AF0B-55D83BBDADF7}" dt="2020-07-13T11:44:30.937" v="1324" actId="165"/>
          <ac:grpSpMkLst>
            <pc:docMk/>
            <pc:sldMk cId="3665884044" sldId="1871"/>
            <ac:grpSpMk id="4" creationId="{C1674DB7-8EC4-4FF4-ACF7-1B7F09602101}"/>
          </ac:grpSpMkLst>
        </pc:grpChg>
        <pc:grpChg chg="add del mod">
          <ac:chgData name="Bantei Sangma [Chillibreeze]" userId="e7070ce9-26a8-4d3a-99f4-f2ac4567d4da" providerId="ADAL" clId="{F2C4BB5F-38BF-4B7A-AF0B-55D83BBDADF7}" dt="2020-07-13T11:48:29.435" v="1379" actId="165"/>
          <ac:grpSpMkLst>
            <pc:docMk/>
            <pc:sldMk cId="3665884044" sldId="1871"/>
            <ac:grpSpMk id="5" creationId="{10E740EA-104B-4925-89DA-ABAA26C23BC4}"/>
          </ac:grpSpMkLst>
        </pc:grpChg>
        <pc:grpChg chg="add del mod">
          <ac:chgData name="Bantei Sangma [Chillibreeze]" userId="e7070ce9-26a8-4d3a-99f4-f2ac4567d4da" providerId="ADAL" clId="{F2C4BB5F-38BF-4B7A-AF0B-55D83BBDADF7}" dt="2020-07-13T11:48:40.924" v="1382" actId="165"/>
          <ac:grpSpMkLst>
            <pc:docMk/>
            <pc:sldMk cId="3665884044" sldId="1871"/>
            <ac:grpSpMk id="6" creationId="{FC465DCB-50B0-44A7-B4FE-A8D9754D2801}"/>
          </ac:grpSpMkLst>
        </pc:grpChg>
        <pc:grpChg chg="add del mod">
          <ac:chgData name="Bantei Sangma [Chillibreeze]" userId="e7070ce9-26a8-4d3a-99f4-f2ac4567d4da" providerId="ADAL" clId="{F2C4BB5F-38BF-4B7A-AF0B-55D83BBDADF7}" dt="2020-07-13T11:48:40.924" v="1382" actId="165"/>
          <ac:grpSpMkLst>
            <pc:docMk/>
            <pc:sldMk cId="3665884044" sldId="1871"/>
            <ac:grpSpMk id="7" creationId="{E4DA56AA-7E39-43F2-B6C7-031FA48B4B9B}"/>
          </ac:grpSpMkLst>
        </pc:grpChg>
        <pc:grpChg chg="del">
          <ac:chgData name="Bantei Sangma [Chillibreeze]" userId="e7070ce9-26a8-4d3a-99f4-f2ac4567d4da" providerId="ADAL" clId="{F2C4BB5F-38BF-4B7A-AF0B-55D83BBDADF7}" dt="2020-07-13T05:07:52.664" v="98" actId="165"/>
          <ac:grpSpMkLst>
            <pc:docMk/>
            <pc:sldMk cId="3665884044" sldId="1871"/>
            <ac:grpSpMk id="8" creationId="{842D8616-FD38-4BD8-9A00-5B0D7580A9E4}"/>
          </ac:grpSpMkLst>
        </pc:grpChg>
        <pc:grpChg chg="del mod">
          <ac:chgData name="Bantei Sangma [Chillibreeze]" userId="e7070ce9-26a8-4d3a-99f4-f2ac4567d4da" providerId="ADAL" clId="{F2C4BB5F-38BF-4B7A-AF0B-55D83BBDADF7}" dt="2020-07-13T11:46:02.326" v="1341" actId="165"/>
          <ac:grpSpMkLst>
            <pc:docMk/>
            <pc:sldMk cId="3665884044" sldId="1871"/>
            <ac:grpSpMk id="8" creationId="{E1032950-EB2E-4775-98FB-5842575A56C4}"/>
          </ac:grpSpMkLst>
        </pc:grpChg>
        <pc:grpChg chg="add del mod">
          <ac:chgData name="Bantei Sangma [Chillibreeze]" userId="e7070ce9-26a8-4d3a-99f4-f2ac4567d4da" providerId="ADAL" clId="{F2C4BB5F-38BF-4B7A-AF0B-55D83BBDADF7}" dt="2020-07-13T11:48:40.924" v="1382" actId="165"/>
          <ac:grpSpMkLst>
            <pc:docMk/>
            <pc:sldMk cId="3665884044" sldId="1871"/>
            <ac:grpSpMk id="9" creationId="{DAFC2089-21FF-44ED-AFB1-BF62E437F5A9}"/>
          </ac:grpSpMkLst>
        </pc:grpChg>
        <pc:grpChg chg="del">
          <ac:chgData name="Bantei Sangma [Chillibreeze]" userId="e7070ce9-26a8-4d3a-99f4-f2ac4567d4da" providerId="ADAL" clId="{F2C4BB5F-38BF-4B7A-AF0B-55D83BBDADF7}" dt="2020-07-13T05:07:51.049" v="97" actId="165"/>
          <ac:grpSpMkLst>
            <pc:docMk/>
            <pc:sldMk cId="3665884044" sldId="1871"/>
            <ac:grpSpMk id="10" creationId="{B43FB183-CF5A-490E-B648-F4040756B9F0}"/>
          </ac:grpSpMkLst>
        </pc:grpChg>
        <pc:grpChg chg="add del mod">
          <ac:chgData name="Bantei Sangma [Chillibreeze]" userId="e7070ce9-26a8-4d3a-99f4-f2ac4567d4da" providerId="ADAL" clId="{F2C4BB5F-38BF-4B7A-AF0B-55D83BBDADF7}" dt="2020-07-13T11:48:40.924" v="1382" actId="165"/>
          <ac:grpSpMkLst>
            <pc:docMk/>
            <pc:sldMk cId="3665884044" sldId="1871"/>
            <ac:grpSpMk id="11" creationId="{6570ACCB-D412-4814-A43C-63291F98895B}"/>
          </ac:grpSpMkLst>
        </pc:grpChg>
        <pc:grpChg chg="del">
          <ac:chgData name="Bantei Sangma [Chillibreeze]" userId="e7070ce9-26a8-4d3a-99f4-f2ac4567d4da" providerId="ADAL" clId="{F2C4BB5F-38BF-4B7A-AF0B-55D83BBDADF7}" dt="2020-07-13T05:07:49.381" v="96" actId="165"/>
          <ac:grpSpMkLst>
            <pc:docMk/>
            <pc:sldMk cId="3665884044" sldId="1871"/>
            <ac:grpSpMk id="14" creationId="{512395A5-0730-457F-B163-A3F840B01929}"/>
          </ac:grpSpMkLst>
        </pc:grpChg>
        <pc:grpChg chg="add mod ord">
          <ac:chgData name="Bantei Sangma [Chillibreeze]" userId="e7070ce9-26a8-4d3a-99f4-f2ac4567d4da" providerId="ADAL" clId="{F2C4BB5F-38BF-4B7A-AF0B-55D83BBDADF7}" dt="2020-07-13T11:50:18.565" v="1409" actId="164"/>
          <ac:grpSpMkLst>
            <pc:docMk/>
            <pc:sldMk cId="3665884044" sldId="1871"/>
            <ac:grpSpMk id="15" creationId="{934D1542-C244-41CD-AC5F-10328952D335}"/>
          </ac:grpSpMkLst>
        </pc:grpChg>
        <pc:grpChg chg="del">
          <ac:chgData name="Bantei Sangma [Chillibreeze]" userId="e7070ce9-26a8-4d3a-99f4-f2ac4567d4da" providerId="ADAL" clId="{F2C4BB5F-38BF-4B7A-AF0B-55D83BBDADF7}" dt="2020-07-13T05:07:47.458" v="95" actId="165"/>
          <ac:grpSpMkLst>
            <pc:docMk/>
            <pc:sldMk cId="3665884044" sldId="1871"/>
            <ac:grpSpMk id="16" creationId="{036F7C2A-0376-44E0-8A0F-2F60D789C6C4}"/>
          </ac:grpSpMkLst>
        </pc:grpChg>
        <pc:grpChg chg="add del mod">
          <ac:chgData name="Bantei Sangma [Chillibreeze]" userId="e7070ce9-26a8-4d3a-99f4-f2ac4567d4da" providerId="ADAL" clId="{F2C4BB5F-38BF-4B7A-AF0B-55D83BBDADF7}" dt="2020-07-13T11:50:52.754" v="1419" actId="478"/>
          <ac:grpSpMkLst>
            <pc:docMk/>
            <pc:sldMk cId="3665884044" sldId="1871"/>
            <ac:grpSpMk id="16" creationId="{82EB8AEF-CD63-46E0-9B89-240C3CA0E045}"/>
          </ac:grpSpMkLst>
        </pc:grpChg>
        <pc:grpChg chg="add del mod">
          <ac:chgData name="Bantei Sangma [Chillibreeze]" userId="e7070ce9-26a8-4d3a-99f4-f2ac4567d4da" providerId="ADAL" clId="{F2C4BB5F-38BF-4B7A-AF0B-55D83BBDADF7}" dt="2020-07-13T11:51:05.590" v="1423" actId="478"/>
          <ac:grpSpMkLst>
            <pc:docMk/>
            <pc:sldMk cId="3665884044" sldId="1871"/>
            <ac:grpSpMk id="17" creationId="{CB90BB4E-6A5B-43DB-8B90-773301689BA3}"/>
          </ac:grpSpMkLst>
        </pc:grpChg>
        <pc:grpChg chg="add del mod">
          <ac:chgData name="Bantei Sangma [Chillibreeze]" userId="e7070ce9-26a8-4d3a-99f4-f2ac4567d4da" providerId="ADAL" clId="{F2C4BB5F-38BF-4B7A-AF0B-55D83BBDADF7}" dt="2020-07-13T11:51:40.971" v="1429" actId="478"/>
          <ac:grpSpMkLst>
            <pc:docMk/>
            <pc:sldMk cId="3665884044" sldId="1871"/>
            <ac:grpSpMk id="18" creationId="{22D24E97-C9D1-4035-9590-C85AC5D0C0DF}"/>
          </ac:grpSpMkLst>
        </pc:grpChg>
        <pc:grpChg chg="add del mod">
          <ac:chgData name="Bantei Sangma [Chillibreeze]" userId="e7070ce9-26a8-4d3a-99f4-f2ac4567d4da" providerId="ADAL" clId="{F2C4BB5F-38BF-4B7A-AF0B-55D83BBDADF7}" dt="2020-07-13T11:51:53.605" v="1433" actId="478"/>
          <ac:grpSpMkLst>
            <pc:docMk/>
            <pc:sldMk cId="3665884044" sldId="1871"/>
            <ac:grpSpMk id="19" creationId="{58FC4C90-5D11-49ED-818D-1D86DEF59AB1}"/>
          </ac:grpSpMkLst>
        </pc:grpChg>
        <pc:grpChg chg="del">
          <ac:chgData name="Bantei Sangma [Chillibreeze]" userId="e7070ce9-26a8-4d3a-99f4-f2ac4567d4da" providerId="ADAL" clId="{F2C4BB5F-38BF-4B7A-AF0B-55D83BBDADF7}" dt="2020-07-13T05:07:43.663" v="94" actId="165"/>
          <ac:grpSpMkLst>
            <pc:docMk/>
            <pc:sldMk cId="3665884044" sldId="1871"/>
            <ac:grpSpMk id="19" creationId="{9CA168F4-556F-497F-B3D6-D0637DB5C2FD}"/>
          </ac:grpSpMkLst>
        </pc:grpChg>
        <pc:grpChg chg="add del mod">
          <ac:chgData name="Bantei Sangma [Chillibreeze]" userId="e7070ce9-26a8-4d3a-99f4-f2ac4567d4da" providerId="ADAL" clId="{F2C4BB5F-38BF-4B7A-AF0B-55D83BBDADF7}" dt="2020-07-13T11:52:10.444" v="1439" actId="478"/>
          <ac:grpSpMkLst>
            <pc:docMk/>
            <pc:sldMk cId="3665884044" sldId="1871"/>
            <ac:grpSpMk id="20" creationId="{82A7B9E7-263B-422A-BC72-CAF76F16E9B6}"/>
          </ac:grpSpMkLst>
        </pc:grpChg>
        <pc:grpChg chg="del">
          <ac:chgData name="Bantei Sangma [Chillibreeze]" userId="e7070ce9-26a8-4d3a-99f4-f2ac4567d4da" providerId="ADAL" clId="{F2C4BB5F-38BF-4B7A-AF0B-55D83BBDADF7}" dt="2020-07-13T05:07:55.418" v="99" actId="165"/>
          <ac:grpSpMkLst>
            <pc:docMk/>
            <pc:sldMk cId="3665884044" sldId="1871"/>
            <ac:grpSpMk id="21" creationId="{31B92DD0-BF3D-4EA3-8D0F-469B48F64D9F}"/>
          </ac:grpSpMkLst>
        </pc:grpChg>
        <pc:grpChg chg="add del mod">
          <ac:chgData name="Bantei Sangma [Chillibreeze]" userId="e7070ce9-26a8-4d3a-99f4-f2ac4567d4da" providerId="ADAL" clId="{F2C4BB5F-38BF-4B7A-AF0B-55D83BBDADF7}" dt="2020-07-13T11:52:23.372" v="1443" actId="478"/>
          <ac:grpSpMkLst>
            <pc:docMk/>
            <pc:sldMk cId="3665884044" sldId="1871"/>
            <ac:grpSpMk id="21" creationId="{D98233F8-14AD-4E81-8536-B833CBDEDC0A}"/>
          </ac:grpSpMkLst>
        </pc:grpChg>
        <pc:grpChg chg="add del mod">
          <ac:chgData name="Bantei Sangma [Chillibreeze]" userId="e7070ce9-26a8-4d3a-99f4-f2ac4567d4da" providerId="ADAL" clId="{F2C4BB5F-38BF-4B7A-AF0B-55D83BBDADF7}" dt="2020-07-13T11:52:35.364" v="1447" actId="478"/>
          <ac:grpSpMkLst>
            <pc:docMk/>
            <pc:sldMk cId="3665884044" sldId="1871"/>
            <ac:grpSpMk id="22" creationId="{A76341B0-B5E6-42FB-8725-D495C83A7985}"/>
          </ac:grpSpMkLst>
        </pc:grpChg>
        <pc:grpChg chg="add mod ord">
          <ac:chgData name="Bantei Sangma [Chillibreeze]" userId="e7070ce9-26a8-4d3a-99f4-f2ac4567d4da" providerId="ADAL" clId="{F2C4BB5F-38BF-4B7A-AF0B-55D83BBDADF7}" dt="2020-07-13T11:50:20.864" v="1410" actId="164"/>
          <ac:grpSpMkLst>
            <pc:docMk/>
            <pc:sldMk cId="3665884044" sldId="1871"/>
            <ac:grpSpMk id="37" creationId="{D136DBA7-2001-45AC-A957-255313923C4C}"/>
          </ac:grpSpMkLst>
        </pc:grpChg>
        <pc:grpChg chg="add mod ord">
          <ac:chgData name="Bantei Sangma [Chillibreeze]" userId="e7070ce9-26a8-4d3a-99f4-f2ac4567d4da" providerId="ADAL" clId="{F2C4BB5F-38BF-4B7A-AF0B-55D83BBDADF7}" dt="2020-07-13T11:50:25.663" v="1411" actId="164"/>
          <ac:grpSpMkLst>
            <pc:docMk/>
            <pc:sldMk cId="3665884044" sldId="1871"/>
            <ac:grpSpMk id="41" creationId="{39C3B915-9133-4E6F-9A5A-EDF5F1D57C03}"/>
          </ac:grpSpMkLst>
        </pc:grpChg>
        <pc:grpChg chg="add mod">
          <ac:chgData name="Bantei Sangma [Chillibreeze]" userId="e7070ce9-26a8-4d3a-99f4-f2ac4567d4da" providerId="ADAL" clId="{F2C4BB5F-38BF-4B7A-AF0B-55D83BBDADF7}" dt="2020-07-13T11:48:37.680" v="1381" actId="571"/>
          <ac:grpSpMkLst>
            <pc:docMk/>
            <pc:sldMk cId="3665884044" sldId="1871"/>
            <ac:grpSpMk id="45" creationId="{AC9A3E85-22AE-4A45-AD3B-E272867A6D15}"/>
          </ac:grpSpMkLst>
        </pc:grpChg>
        <pc:grpChg chg="add mod ord">
          <ac:chgData name="Bantei Sangma [Chillibreeze]" userId="e7070ce9-26a8-4d3a-99f4-f2ac4567d4da" providerId="ADAL" clId="{F2C4BB5F-38BF-4B7A-AF0B-55D83BBDADF7}" dt="2020-07-13T11:50:30.014" v="1412" actId="164"/>
          <ac:grpSpMkLst>
            <pc:docMk/>
            <pc:sldMk cId="3665884044" sldId="1871"/>
            <ac:grpSpMk id="58" creationId="{A80EF354-4635-4C3B-914E-ADA6E5398CD8}"/>
          </ac:grpSpMkLst>
        </pc:grpChg>
        <pc:grpChg chg="add mod ord">
          <ac:chgData name="Bantei Sangma [Chillibreeze]" userId="e7070ce9-26a8-4d3a-99f4-f2ac4567d4da" providerId="ADAL" clId="{F2C4BB5F-38BF-4B7A-AF0B-55D83BBDADF7}" dt="2020-07-13T11:50:33.116" v="1413" actId="164"/>
          <ac:grpSpMkLst>
            <pc:docMk/>
            <pc:sldMk cId="3665884044" sldId="1871"/>
            <ac:grpSpMk id="62" creationId="{83BC83A2-E5FE-4AFA-8E0D-9A241BC720CF}"/>
          </ac:grpSpMkLst>
        </pc:grpChg>
        <pc:grpChg chg="add mod ord">
          <ac:chgData name="Bantei Sangma [Chillibreeze]" userId="e7070ce9-26a8-4d3a-99f4-f2ac4567d4da" providerId="ADAL" clId="{F2C4BB5F-38BF-4B7A-AF0B-55D83BBDADF7}" dt="2020-07-13T11:50:38.313" v="1414" actId="164"/>
          <ac:grpSpMkLst>
            <pc:docMk/>
            <pc:sldMk cId="3665884044" sldId="1871"/>
            <ac:grpSpMk id="65" creationId="{0C05B2DD-06BB-4F9F-9292-1426FFC03EC5}"/>
          </ac:grpSpMkLst>
        </pc:grpChg>
        <pc:grpChg chg="add mod ord">
          <ac:chgData name="Bantei Sangma [Chillibreeze]" userId="e7070ce9-26a8-4d3a-99f4-f2ac4567d4da" providerId="ADAL" clId="{F2C4BB5F-38BF-4B7A-AF0B-55D83BBDADF7}" dt="2020-07-13T11:50:40.547" v="1415" actId="164"/>
          <ac:grpSpMkLst>
            <pc:docMk/>
            <pc:sldMk cId="3665884044" sldId="1871"/>
            <ac:grpSpMk id="68" creationId="{811E4E10-DC6F-4898-B30C-5D5E68905888}"/>
          </ac:grpSpMkLst>
        </pc:grpChg>
        <pc:picChg chg="add del mod">
          <ac:chgData name="Bantei Sangma [Chillibreeze]" userId="e7070ce9-26a8-4d3a-99f4-f2ac4567d4da" providerId="ADAL" clId="{F2C4BB5F-38BF-4B7A-AF0B-55D83BBDADF7}" dt="2020-07-13T11:53:47.234" v="1463" actId="21"/>
          <ac:picMkLst>
            <pc:docMk/>
            <pc:sldMk cId="3665884044" sldId="1871"/>
            <ac:picMk id="24" creationId="{A009EAAB-21B1-4C92-94DF-41516D3B0AC8}"/>
          </ac:picMkLst>
        </pc:picChg>
        <pc:picChg chg="add del mod">
          <ac:chgData name="Bantei Sangma [Chillibreeze]" userId="e7070ce9-26a8-4d3a-99f4-f2ac4567d4da" providerId="ADAL" clId="{F2C4BB5F-38BF-4B7A-AF0B-55D83BBDADF7}" dt="2020-07-13T11:53:52.791" v="1467" actId="21"/>
          <ac:picMkLst>
            <pc:docMk/>
            <pc:sldMk cId="3665884044" sldId="1871"/>
            <ac:picMk id="26" creationId="{7BFD25A3-67F1-4E1A-A860-1DCF123A0BFA}"/>
          </ac:picMkLst>
        </pc:picChg>
        <pc:picChg chg="add del mod">
          <ac:chgData name="Bantei Sangma [Chillibreeze]" userId="e7070ce9-26a8-4d3a-99f4-f2ac4567d4da" providerId="ADAL" clId="{F2C4BB5F-38BF-4B7A-AF0B-55D83BBDADF7}" dt="2020-07-13T11:54:00.773" v="1471" actId="21"/>
          <ac:picMkLst>
            <pc:docMk/>
            <pc:sldMk cId="3665884044" sldId="1871"/>
            <ac:picMk id="28" creationId="{A6623884-96C1-4482-83DF-D984F49F9DE4}"/>
          </ac:picMkLst>
        </pc:picChg>
        <pc:picChg chg="add del mod">
          <ac:chgData name="Bantei Sangma [Chillibreeze]" userId="e7070ce9-26a8-4d3a-99f4-f2ac4567d4da" providerId="ADAL" clId="{F2C4BB5F-38BF-4B7A-AF0B-55D83BBDADF7}" dt="2020-07-13T11:54:05.635" v="1475" actId="21"/>
          <ac:picMkLst>
            <pc:docMk/>
            <pc:sldMk cId="3665884044" sldId="1871"/>
            <ac:picMk id="30" creationId="{526FA5D6-871E-4882-B78C-B6AD22CB3B1B}"/>
          </ac:picMkLst>
        </pc:picChg>
        <pc:picChg chg="add del mod">
          <ac:chgData name="Bantei Sangma [Chillibreeze]" userId="e7070ce9-26a8-4d3a-99f4-f2ac4567d4da" providerId="ADAL" clId="{F2C4BB5F-38BF-4B7A-AF0B-55D83BBDADF7}" dt="2020-07-13T11:54:10.625" v="1479" actId="21"/>
          <ac:picMkLst>
            <pc:docMk/>
            <pc:sldMk cId="3665884044" sldId="1871"/>
            <ac:picMk id="32" creationId="{54B123B8-604D-410B-999B-A80782352D65}"/>
          </ac:picMkLst>
        </pc:picChg>
        <pc:picChg chg="add del mod">
          <ac:chgData name="Bantei Sangma [Chillibreeze]" userId="e7070ce9-26a8-4d3a-99f4-f2ac4567d4da" providerId="ADAL" clId="{F2C4BB5F-38BF-4B7A-AF0B-55D83BBDADF7}" dt="2020-07-13T11:54:16.703" v="1483" actId="21"/>
          <ac:picMkLst>
            <pc:docMk/>
            <pc:sldMk cId="3665884044" sldId="1871"/>
            <ac:picMk id="34" creationId="{23953D15-65A7-4161-8C72-072C67F3B835}"/>
          </ac:picMkLst>
        </pc:picChg>
        <pc:picChg chg="mod topLvl">
          <ac:chgData name="Bantei Sangma [Chillibreeze]" userId="e7070ce9-26a8-4d3a-99f4-f2ac4567d4da" providerId="ADAL" clId="{F2C4BB5F-38BF-4B7A-AF0B-55D83BBDADF7}" dt="2020-07-13T11:50:40.547" v="1415" actId="164"/>
          <ac:picMkLst>
            <pc:docMk/>
            <pc:sldMk cId="3665884044" sldId="1871"/>
            <ac:picMk id="36" creationId="{3DE4D567-C3D4-43EB-B43A-B17244614DE6}"/>
          </ac:picMkLst>
        </pc:picChg>
        <pc:picChg chg="mod topLvl">
          <ac:chgData name="Bantei Sangma [Chillibreeze]" userId="e7070ce9-26a8-4d3a-99f4-f2ac4567d4da" providerId="ADAL" clId="{F2C4BB5F-38BF-4B7A-AF0B-55D83BBDADF7}" dt="2020-07-13T11:51:10.791" v="1425" actId="108"/>
          <ac:picMkLst>
            <pc:docMk/>
            <pc:sldMk cId="3665884044" sldId="1871"/>
            <ac:picMk id="46" creationId="{C25BE70A-93F6-47AA-B7A4-80A21DE498E7}"/>
          </ac:picMkLst>
        </pc:picChg>
        <pc:picChg chg="mod">
          <ac:chgData name="Bantei Sangma [Chillibreeze]" userId="e7070ce9-26a8-4d3a-99f4-f2ac4567d4da" providerId="ADAL" clId="{F2C4BB5F-38BF-4B7A-AF0B-55D83BBDADF7}" dt="2020-07-13T11:48:37.680" v="1381" actId="571"/>
          <ac:picMkLst>
            <pc:docMk/>
            <pc:sldMk cId="3665884044" sldId="1871"/>
            <ac:picMk id="47" creationId="{BFBD5FBA-2D56-4925-8ACC-BB792B94A985}"/>
          </ac:picMkLst>
        </pc:picChg>
        <pc:picChg chg="mod">
          <ac:chgData name="Bantei Sangma [Chillibreeze]" userId="e7070ce9-26a8-4d3a-99f4-f2ac4567d4da" providerId="ADAL" clId="{F2C4BB5F-38BF-4B7A-AF0B-55D83BBDADF7}" dt="2020-07-13T11:48:37.680" v="1381" actId="571"/>
          <ac:picMkLst>
            <pc:docMk/>
            <pc:sldMk cId="3665884044" sldId="1871"/>
            <ac:picMk id="48" creationId="{90C89900-58F2-4BAB-A448-4E60E60FFB85}"/>
          </ac:picMkLst>
        </pc:picChg>
        <pc:picChg chg="add del mod">
          <ac:chgData name="Bantei Sangma [Chillibreeze]" userId="e7070ce9-26a8-4d3a-99f4-f2ac4567d4da" providerId="ADAL" clId="{F2C4BB5F-38BF-4B7A-AF0B-55D83BBDADF7}" dt="2020-07-13T11:53:26.300" v="1462" actId="478"/>
          <ac:picMkLst>
            <pc:docMk/>
            <pc:sldMk cId="3665884044" sldId="1871"/>
            <ac:picMk id="49" creationId="{8E1388FC-3598-4956-9702-E60A4E5C46F3}"/>
          </ac:picMkLst>
        </pc:picChg>
        <pc:picChg chg="add del mod">
          <ac:chgData name="Bantei Sangma [Chillibreeze]" userId="e7070ce9-26a8-4d3a-99f4-f2ac4567d4da" providerId="ADAL" clId="{F2C4BB5F-38BF-4B7A-AF0B-55D83BBDADF7}" dt="2020-07-13T11:53:26.300" v="1462" actId="478"/>
          <ac:picMkLst>
            <pc:docMk/>
            <pc:sldMk cId="3665884044" sldId="1871"/>
            <ac:picMk id="51" creationId="{09C3FFC5-A08D-4810-99E3-4224A2AB2DD8}"/>
          </ac:picMkLst>
        </pc:picChg>
        <pc:picChg chg="add del mod">
          <ac:chgData name="Bantei Sangma [Chillibreeze]" userId="e7070ce9-26a8-4d3a-99f4-f2ac4567d4da" providerId="ADAL" clId="{F2C4BB5F-38BF-4B7A-AF0B-55D83BBDADF7}" dt="2020-07-13T11:53:26.300" v="1462" actId="478"/>
          <ac:picMkLst>
            <pc:docMk/>
            <pc:sldMk cId="3665884044" sldId="1871"/>
            <ac:picMk id="52" creationId="{C1E3C5C1-B400-480D-8C55-F34494B01BEE}"/>
          </ac:picMkLst>
        </pc:picChg>
        <pc:picChg chg="add del mod">
          <ac:chgData name="Bantei Sangma [Chillibreeze]" userId="e7070ce9-26a8-4d3a-99f4-f2ac4567d4da" providerId="ADAL" clId="{F2C4BB5F-38BF-4B7A-AF0B-55D83BBDADF7}" dt="2020-07-13T11:53:26.300" v="1462" actId="478"/>
          <ac:picMkLst>
            <pc:docMk/>
            <pc:sldMk cId="3665884044" sldId="1871"/>
            <ac:picMk id="53" creationId="{ECDA4B93-9FDF-476E-9050-73C05380B096}"/>
          </ac:picMkLst>
        </pc:picChg>
        <pc:picChg chg="add del mod">
          <ac:chgData name="Bantei Sangma [Chillibreeze]" userId="e7070ce9-26a8-4d3a-99f4-f2ac4567d4da" providerId="ADAL" clId="{F2C4BB5F-38BF-4B7A-AF0B-55D83BBDADF7}" dt="2020-07-13T11:53:26.300" v="1462" actId="478"/>
          <ac:picMkLst>
            <pc:docMk/>
            <pc:sldMk cId="3665884044" sldId="1871"/>
            <ac:picMk id="54" creationId="{1B059D82-EC46-4CB7-95EA-A4D83C815860}"/>
          </ac:picMkLst>
        </pc:picChg>
        <pc:picChg chg="add del mod">
          <ac:chgData name="Bantei Sangma [Chillibreeze]" userId="e7070ce9-26a8-4d3a-99f4-f2ac4567d4da" providerId="ADAL" clId="{F2C4BB5F-38BF-4B7A-AF0B-55D83BBDADF7}" dt="2020-07-13T11:53:26.300" v="1462" actId="478"/>
          <ac:picMkLst>
            <pc:docMk/>
            <pc:sldMk cId="3665884044" sldId="1871"/>
            <ac:picMk id="56" creationId="{7607E8AC-7BBB-4780-8AD7-56D341C50D22}"/>
          </ac:picMkLst>
        </pc:picChg>
        <pc:picChg chg="add del mod">
          <ac:chgData name="Bantei Sangma [Chillibreeze]" userId="e7070ce9-26a8-4d3a-99f4-f2ac4567d4da" providerId="ADAL" clId="{F2C4BB5F-38BF-4B7A-AF0B-55D83BBDADF7}" dt="2020-07-13T11:53:26.300" v="1462" actId="478"/>
          <ac:picMkLst>
            <pc:docMk/>
            <pc:sldMk cId="3665884044" sldId="1871"/>
            <ac:picMk id="57" creationId="{043E2C7D-F5FE-4F41-A341-EC76F487899F}"/>
          </ac:picMkLst>
        </pc:picChg>
        <pc:picChg chg="add del mod">
          <ac:chgData name="Bantei Sangma [Chillibreeze]" userId="e7070ce9-26a8-4d3a-99f4-f2ac4567d4da" providerId="ADAL" clId="{F2C4BB5F-38BF-4B7A-AF0B-55D83BBDADF7}" dt="2020-07-13T11:54:21.450" v="1487" actId="21"/>
          <ac:picMkLst>
            <pc:docMk/>
            <pc:sldMk cId="3665884044" sldId="1871"/>
            <ac:picMk id="72" creationId="{AB56B2CD-9208-4A99-AFA4-3097AD1A557B}"/>
          </ac:picMkLst>
        </pc:picChg>
        <pc:picChg chg="add">
          <ac:chgData name="Bantei Sangma [Chillibreeze]" userId="e7070ce9-26a8-4d3a-99f4-f2ac4567d4da" providerId="ADAL" clId="{F2C4BB5F-38BF-4B7A-AF0B-55D83BBDADF7}" dt="2020-07-13T11:53:47.958" v="1464" actId="22"/>
          <ac:picMkLst>
            <pc:docMk/>
            <pc:sldMk cId="3665884044" sldId="1871"/>
            <ac:picMk id="73" creationId="{A2FE9072-C86D-48D7-A84C-B36ED42348AD}"/>
          </ac:picMkLst>
        </pc:picChg>
        <pc:picChg chg="add">
          <ac:chgData name="Bantei Sangma [Chillibreeze]" userId="e7070ce9-26a8-4d3a-99f4-f2ac4567d4da" providerId="ADAL" clId="{F2C4BB5F-38BF-4B7A-AF0B-55D83BBDADF7}" dt="2020-07-13T11:53:53.435" v="1468" actId="22"/>
          <ac:picMkLst>
            <pc:docMk/>
            <pc:sldMk cId="3665884044" sldId="1871"/>
            <ac:picMk id="75" creationId="{E85AC611-9476-425E-A01E-F88133EAF5B3}"/>
          </ac:picMkLst>
        </pc:picChg>
        <pc:picChg chg="add">
          <ac:chgData name="Bantei Sangma [Chillibreeze]" userId="e7070ce9-26a8-4d3a-99f4-f2ac4567d4da" providerId="ADAL" clId="{F2C4BB5F-38BF-4B7A-AF0B-55D83BBDADF7}" dt="2020-07-13T11:54:01.352" v="1472" actId="22"/>
          <ac:picMkLst>
            <pc:docMk/>
            <pc:sldMk cId="3665884044" sldId="1871"/>
            <ac:picMk id="77" creationId="{FF08A87E-CCCC-489C-A6F5-78191DE3C882}"/>
          </ac:picMkLst>
        </pc:picChg>
        <pc:picChg chg="add">
          <ac:chgData name="Bantei Sangma [Chillibreeze]" userId="e7070ce9-26a8-4d3a-99f4-f2ac4567d4da" providerId="ADAL" clId="{F2C4BB5F-38BF-4B7A-AF0B-55D83BBDADF7}" dt="2020-07-13T11:54:06.365" v="1476" actId="22"/>
          <ac:picMkLst>
            <pc:docMk/>
            <pc:sldMk cId="3665884044" sldId="1871"/>
            <ac:picMk id="79" creationId="{982AC51F-663E-4265-8D14-3DE91DA7E062}"/>
          </ac:picMkLst>
        </pc:picChg>
        <pc:picChg chg="add">
          <ac:chgData name="Bantei Sangma [Chillibreeze]" userId="e7070ce9-26a8-4d3a-99f4-f2ac4567d4da" providerId="ADAL" clId="{F2C4BB5F-38BF-4B7A-AF0B-55D83BBDADF7}" dt="2020-07-13T11:54:11.297" v="1480" actId="22"/>
          <ac:picMkLst>
            <pc:docMk/>
            <pc:sldMk cId="3665884044" sldId="1871"/>
            <ac:picMk id="81" creationId="{42D051CD-18B6-4416-82A6-58BB9B327C49}"/>
          </ac:picMkLst>
        </pc:picChg>
        <pc:picChg chg="add">
          <ac:chgData name="Bantei Sangma [Chillibreeze]" userId="e7070ce9-26a8-4d3a-99f4-f2ac4567d4da" providerId="ADAL" clId="{F2C4BB5F-38BF-4B7A-AF0B-55D83BBDADF7}" dt="2020-07-13T11:54:17.202" v="1484" actId="22"/>
          <ac:picMkLst>
            <pc:docMk/>
            <pc:sldMk cId="3665884044" sldId="1871"/>
            <ac:picMk id="83" creationId="{A3D54FCC-4DF7-4EB9-AE5F-85D41B9D4865}"/>
          </ac:picMkLst>
        </pc:picChg>
        <pc:picChg chg="add">
          <ac:chgData name="Bantei Sangma [Chillibreeze]" userId="e7070ce9-26a8-4d3a-99f4-f2ac4567d4da" providerId="ADAL" clId="{F2C4BB5F-38BF-4B7A-AF0B-55D83BBDADF7}" dt="2020-07-13T11:54:22.118" v="1488" actId="22"/>
          <ac:picMkLst>
            <pc:docMk/>
            <pc:sldMk cId="3665884044" sldId="1871"/>
            <ac:picMk id="85" creationId="{CA213B12-FC55-47F5-A0DF-3DEB36B7EBAA}"/>
          </ac:picMkLst>
        </pc:picChg>
        <pc:picChg chg="del mod topLvl">
          <ac:chgData name="Bantei Sangma [Chillibreeze]" userId="e7070ce9-26a8-4d3a-99f4-f2ac4567d4da" providerId="ADAL" clId="{F2C4BB5F-38BF-4B7A-AF0B-55D83BBDADF7}" dt="2020-07-13T11:45:58.548" v="1340" actId="338"/>
          <ac:picMkLst>
            <pc:docMk/>
            <pc:sldMk cId="3665884044" sldId="1871"/>
            <ac:picMk id="104" creationId="{27056395-3DEA-475F-B116-BBA0A6C4487C}"/>
          </ac:picMkLst>
        </pc:picChg>
        <pc:picChg chg="del mod topLvl">
          <ac:chgData name="Bantei Sangma [Chillibreeze]" userId="e7070ce9-26a8-4d3a-99f4-f2ac4567d4da" providerId="ADAL" clId="{F2C4BB5F-38BF-4B7A-AF0B-55D83BBDADF7}" dt="2020-07-13T11:47:29.509" v="1363" actId="478"/>
          <ac:picMkLst>
            <pc:docMk/>
            <pc:sldMk cId="3665884044" sldId="1871"/>
            <ac:picMk id="107" creationId="{9219084A-6737-471A-8506-25D80DE3FC23}"/>
          </ac:picMkLst>
        </pc:picChg>
        <pc:picChg chg="del mod topLvl">
          <ac:chgData name="Bantei Sangma [Chillibreeze]" userId="e7070ce9-26a8-4d3a-99f4-f2ac4567d4da" providerId="ADAL" clId="{F2C4BB5F-38BF-4B7A-AF0B-55D83BBDADF7}" dt="2020-07-13T11:49:11" v="1387" actId="478"/>
          <ac:picMkLst>
            <pc:docMk/>
            <pc:sldMk cId="3665884044" sldId="1871"/>
            <ac:picMk id="109" creationId="{41D288E3-A43A-4EE9-BC7E-141435B9DB11}"/>
          </ac:picMkLst>
        </pc:picChg>
        <pc:picChg chg="del mod topLvl">
          <ac:chgData name="Bantei Sangma [Chillibreeze]" userId="e7070ce9-26a8-4d3a-99f4-f2ac4567d4da" providerId="ADAL" clId="{F2C4BB5F-38BF-4B7A-AF0B-55D83BBDADF7}" dt="2020-07-13T11:49:31.304" v="1392" actId="478"/>
          <ac:picMkLst>
            <pc:docMk/>
            <pc:sldMk cId="3665884044" sldId="1871"/>
            <ac:picMk id="110" creationId="{DED0B891-4A1C-4CDA-9F8E-E18E55FF1776}"/>
          </ac:picMkLst>
        </pc:picChg>
        <pc:picChg chg="del mod topLvl">
          <ac:chgData name="Bantei Sangma [Chillibreeze]" userId="e7070ce9-26a8-4d3a-99f4-f2ac4567d4da" providerId="ADAL" clId="{F2C4BB5F-38BF-4B7A-AF0B-55D83BBDADF7}" dt="2020-07-13T11:49:43.732" v="1397" actId="478"/>
          <ac:picMkLst>
            <pc:docMk/>
            <pc:sldMk cId="3665884044" sldId="1871"/>
            <ac:picMk id="111" creationId="{DD6135A8-D536-4834-A1AD-26148CE8B104}"/>
          </ac:picMkLst>
        </pc:picChg>
        <pc:picChg chg="del mod topLvl">
          <ac:chgData name="Bantei Sangma [Chillibreeze]" userId="e7070ce9-26a8-4d3a-99f4-f2ac4567d4da" providerId="ADAL" clId="{F2C4BB5F-38BF-4B7A-AF0B-55D83BBDADF7}" dt="2020-07-13T11:49:53.365" v="1402" actId="478"/>
          <ac:picMkLst>
            <pc:docMk/>
            <pc:sldMk cId="3665884044" sldId="1871"/>
            <ac:picMk id="112" creationId="{91820C4A-51A2-4DCE-8658-C6C2495B5AA3}"/>
          </ac:picMkLst>
        </pc:picChg>
        <pc:picChg chg="del mod topLvl">
          <ac:chgData name="Bantei Sangma [Chillibreeze]" userId="e7070ce9-26a8-4d3a-99f4-f2ac4567d4da" providerId="ADAL" clId="{F2C4BB5F-38BF-4B7A-AF0B-55D83BBDADF7}" dt="2020-07-13T11:50:09.188" v="1407" actId="478"/>
          <ac:picMkLst>
            <pc:docMk/>
            <pc:sldMk cId="3665884044" sldId="1871"/>
            <ac:picMk id="113" creationId="{4C985BCC-924C-4416-A1B7-BD17F14BFC7C}"/>
          </ac:picMkLst>
        </pc:picChg>
        <pc:picChg chg="mod topLvl">
          <ac:chgData name="Bantei Sangma [Chillibreeze]" userId="e7070ce9-26a8-4d3a-99f4-f2ac4567d4da" providerId="ADAL" clId="{F2C4BB5F-38BF-4B7A-AF0B-55D83BBDADF7}" dt="2020-07-13T11:50:20.864" v="1410" actId="164"/>
          <ac:picMkLst>
            <pc:docMk/>
            <pc:sldMk cId="3665884044" sldId="1871"/>
            <ac:picMk id="155" creationId="{D4A5FCC1-C008-4609-811F-F53C6738D803}"/>
          </ac:picMkLst>
        </pc:picChg>
        <pc:picChg chg="mod topLvl">
          <ac:chgData name="Bantei Sangma [Chillibreeze]" userId="e7070ce9-26a8-4d3a-99f4-f2ac4567d4da" providerId="ADAL" clId="{F2C4BB5F-38BF-4B7A-AF0B-55D83BBDADF7}" dt="2020-07-13T11:50:30.014" v="1412" actId="164"/>
          <ac:picMkLst>
            <pc:docMk/>
            <pc:sldMk cId="3665884044" sldId="1871"/>
            <ac:picMk id="156" creationId="{BAD2C1A5-1A70-4CDD-A768-8F748B8B2C30}"/>
          </ac:picMkLst>
        </pc:picChg>
        <pc:picChg chg="mod topLvl">
          <ac:chgData name="Bantei Sangma [Chillibreeze]" userId="e7070ce9-26a8-4d3a-99f4-f2ac4567d4da" providerId="ADAL" clId="{F2C4BB5F-38BF-4B7A-AF0B-55D83BBDADF7}" dt="2020-07-13T11:51:58.930" v="1435" actId="108"/>
          <ac:picMkLst>
            <pc:docMk/>
            <pc:sldMk cId="3665884044" sldId="1871"/>
            <ac:picMk id="158" creationId="{7BD6DA3C-12E5-4055-AF9D-3377F4811560}"/>
          </ac:picMkLst>
        </pc:picChg>
        <pc:picChg chg="mod topLvl">
          <ac:chgData name="Bantei Sangma [Chillibreeze]" userId="e7070ce9-26a8-4d3a-99f4-f2ac4567d4da" providerId="ADAL" clId="{F2C4BB5F-38BF-4B7A-AF0B-55D83BBDADF7}" dt="2020-07-13T11:50:38.313" v="1414" actId="164"/>
          <ac:picMkLst>
            <pc:docMk/>
            <pc:sldMk cId="3665884044" sldId="1871"/>
            <ac:picMk id="159" creationId="{0C37DD97-FFD8-4B57-8A3B-C214610D1475}"/>
          </ac:picMkLst>
        </pc:picChg>
        <pc:picChg chg="mod topLvl">
          <ac:chgData name="Bantei Sangma [Chillibreeze]" userId="e7070ce9-26a8-4d3a-99f4-f2ac4567d4da" providerId="ADAL" clId="{F2C4BB5F-38BF-4B7A-AF0B-55D83BBDADF7}" dt="2020-07-13T11:50:18.565" v="1409" actId="164"/>
          <ac:picMkLst>
            <pc:docMk/>
            <pc:sldMk cId="3665884044" sldId="1871"/>
            <ac:picMk id="161" creationId="{0C7F91FA-BCBE-4BB4-BB63-0A63FEBF3ECF}"/>
          </ac:picMkLst>
        </pc:picChg>
      </pc:sldChg>
      <pc:sldChg chg="modSp">
        <pc:chgData name="Bantei Sangma [Chillibreeze]" userId="e7070ce9-26a8-4d3a-99f4-f2ac4567d4da" providerId="ADAL" clId="{F2C4BB5F-38BF-4B7A-AF0B-55D83BBDADF7}" dt="2020-07-13T04:38:02.644" v="9"/>
        <pc:sldMkLst>
          <pc:docMk/>
          <pc:sldMk cId="2969652716" sldId="1909"/>
        </pc:sldMkLst>
        <pc:spChg chg="mod">
          <ac:chgData name="Bantei Sangma [Chillibreeze]" userId="e7070ce9-26a8-4d3a-99f4-f2ac4567d4da" providerId="ADAL" clId="{F2C4BB5F-38BF-4B7A-AF0B-55D83BBDADF7}" dt="2020-07-13T04:38:02.644" v="9"/>
          <ac:spMkLst>
            <pc:docMk/>
            <pc:sldMk cId="2969652716" sldId="1909"/>
            <ac:spMk id="4" creationId="{0CD8665D-5A50-4F07-9D33-48CCD3FD74C7}"/>
          </ac:spMkLst>
        </pc:spChg>
      </pc:sldChg>
      <pc:sldChg chg="modSp">
        <pc:chgData name="Bantei Sangma [Chillibreeze]" userId="e7070ce9-26a8-4d3a-99f4-f2ac4567d4da" providerId="ADAL" clId="{F2C4BB5F-38BF-4B7A-AF0B-55D83BBDADF7}" dt="2020-07-13T04:39:11.490" v="30"/>
        <pc:sldMkLst>
          <pc:docMk/>
          <pc:sldMk cId="896466654" sldId="1911"/>
        </pc:sldMkLst>
        <pc:spChg chg="mod">
          <ac:chgData name="Bantei Sangma [Chillibreeze]" userId="e7070ce9-26a8-4d3a-99f4-f2ac4567d4da" providerId="ADAL" clId="{F2C4BB5F-38BF-4B7A-AF0B-55D83BBDADF7}" dt="2020-07-13T04:39:11.490" v="30"/>
          <ac:spMkLst>
            <pc:docMk/>
            <pc:sldMk cId="896466654" sldId="1911"/>
            <ac:spMk id="2" creationId="{544A83E9-9D3F-4D27-92C5-3271240ED3D2}"/>
          </ac:spMkLst>
        </pc:spChg>
      </pc:sldChg>
      <pc:sldChg chg="addSp delSp modSp mod">
        <pc:chgData name="Bantei Sangma [Chillibreeze]" userId="e7070ce9-26a8-4d3a-99f4-f2ac4567d4da" providerId="ADAL" clId="{F2C4BB5F-38BF-4B7A-AF0B-55D83BBDADF7}" dt="2020-07-13T04:48:46.110" v="45"/>
        <pc:sldMkLst>
          <pc:docMk/>
          <pc:sldMk cId="2110664733" sldId="1913"/>
        </pc:sldMkLst>
        <pc:spChg chg="mod">
          <ac:chgData name="Bantei Sangma [Chillibreeze]" userId="e7070ce9-26a8-4d3a-99f4-f2ac4567d4da" providerId="ADAL" clId="{F2C4BB5F-38BF-4B7A-AF0B-55D83BBDADF7}" dt="2020-07-13T04:48:46.110" v="45"/>
          <ac:spMkLst>
            <pc:docMk/>
            <pc:sldMk cId="2110664733" sldId="1913"/>
            <ac:spMk id="4" creationId="{0CD8665D-5A50-4F07-9D33-48CCD3FD74C7}"/>
          </ac:spMkLst>
        </pc:spChg>
        <pc:picChg chg="add mod">
          <ac:chgData name="Bantei Sangma [Chillibreeze]" userId="e7070ce9-26a8-4d3a-99f4-f2ac4567d4da" providerId="ADAL" clId="{F2C4BB5F-38BF-4B7A-AF0B-55D83BBDADF7}" dt="2020-07-13T04:43:54.087" v="43" actId="1076"/>
          <ac:picMkLst>
            <pc:docMk/>
            <pc:sldMk cId="2110664733" sldId="1913"/>
            <ac:picMk id="2" creationId="{714A7914-1FC8-451B-B923-58B885C4E204}"/>
          </ac:picMkLst>
        </pc:picChg>
        <pc:picChg chg="del">
          <ac:chgData name="Bantei Sangma [Chillibreeze]" userId="e7070ce9-26a8-4d3a-99f4-f2ac4567d4da" providerId="ADAL" clId="{F2C4BB5F-38BF-4B7A-AF0B-55D83BBDADF7}" dt="2020-07-13T04:43:46.395" v="37" actId="478"/>
          <ac:picMkLst>
            <pc:docMk/>
            <pc:sldMk cId="2110664733" sldId="1913"/>
            <ac:picMk id="3" creationId="{FBC62EC8-76CE-436F-8130-5BEA7702D094}"/>
          </ac:picMkLst>
        </pc:picChg>
      </pc:sldChg>
      <pc:sldChg chg="addSp delSp modSp mod">
        <pc:chgData name="Bantei Sangma [Chillibreeze]" userId="e7070ce9-26a8-4d3a-99f4-f2ac4567d4da" providerId="ADAL" clId="{F2C4BB5F-38BF-4B7A-AF0B-55D83BBDADF7}" dt="2020-07-13T11:35:54.997" v="1163" actId="962"/>
        <pc:sldMkLst>
          <pc:docMk/>
          <pc:sldMk cId="2122675882" sldId="1915"/>
        </pc:sldMkLst>
        <pc:spChg chg="mod">
          <ac:chgData name="Bantei Sangma [Chillibreeze]" userId="e7070ce9-26a8-4d3a-99f4-f2ac4567d4da" providerId="ADAL" clId="{F2C4BB5F-38BF-4B7A-AF0B-55D83BBDADF7}" dt="2020-07-13T11:01:59.447" v="432" actId="338"/>
          <ac:spMkLst>
            <pc:docMk/>
            <pc:sldMk cId="2122675882" sldId="1915"/>
            <ac:spMk id="2" creationId="{D6839FC6-8DEE-4203-93C4-77E934DBFAA4}"/>
          </ac:spMkLst>
        </pc:spChg>
        <pc:spChg chg="del mod topLvl">
          <ac:chgData name="Bantei Sangma [Chillibreeze]" userId="e7070ce9-26a8-4d3a-99f4-f2ac4567d4da" providerId="ADAL" clId="{F2C4BB5F-38BF-4B7A-AF0B-55D83BBDADF7}" dt="2020-07-13T11:02:21.097" v="438" actId="478"/>
          <ac:spMkLst>
            <pc:docMk/>
            <pc:sldMk cId="2122675882" sldId="1915"/>
            <ac:spMk id="4" creationId="{A634DC39-1FE6-44AD-AC19-DFA0A2751D4B}"/>
          </ac:spMkLst>
        </pc:spChg>
        <pc:spChg chg="mod topLvl">
          <ac:chgData name="Bantei Sangma [Chillibreeze]" userId="e7070ce9-26a8-4d3a-99f4-f2ac4567d4da" providerId="ADAL" clId="{F2C4BB5F-38BF-4B7A-AF0B-55D83BBDADF7}" dt="2020-07-13T11:03:01.685" v="456" actId="164"/>
          <ac:spMkLst>
            <pc:docMk/>
            <pc:sldMk cId="2122675882" sldId="1915"/>
            <ac:spMk id="5" creationId="{B719AE55-E66A-4721-9480-4B23625A3D96}"/>
          </ac:spMkLst>
        </pc:spChg>
        <pc:spChg chg="del mod topLvl">
          <ac:chgData name="Bantei Sangma [Chillibreeze]" userId="e7070ce9-26a8-4d3a-99f4-f2ac4567d4da" providerId="ADAL" clId="{F2C4BB5F-38BF-4B7A-AF0B-55D83BBDADF7}" dt="2020-07-13T11:02:33.933" v="442" actId="478"/>
          <ac:spMkLst>
            <pc:docMk/>
            <pc:sldMk cId="2122675882" sldId="1915"/>
            <ac:spMk id="6" creationId="{7416CF45-9C32-4044-98F1-4D7507A5737D}"/>
          </ac:spMkLst>
        </pc:spChg>
        <pc:spChg chg="mod topLvl">
          <ac:chgData name="Bantei Sangma [Chillibreeze]" userId="e7070ce9-26a8-4d3a-99f4-f2ac4567d4da" providerId="ADAL" clId="{F2C4BB5F-38BF-4B7A-AF0B-55D83BBDADF7}" dt="2020-07-13T11:03:01.685" v="456" actId="164"/>
          <ac:spMkLst>
            <pc:docMk/>
            <pc:sldMk cId="2122675882" sldId="1915"/>
            <ac:spMk id="7" creationId="{78F2EF9E-85F5-46D3-8273-71EF4FD70344}"/>
          </ac:spMkLst>
        </pc:spChg>
        <pc:spChg chg="del mod">
          <ac:chgData name="Bantei Sangma [Chillibreeze]" userId="e7070ce9-26a8-4d3a-99f4-f2ac4567d4da" providerId="ADAL" clId="{F2C4BB5F-38BF-4B7A-AF0B-55D83BBDADF7}" dt="2020-07-13T11:18:35.751" v="673" actId="478"/>
          <ac:spMkLst>
            <pc:docMk/>
            <pc:sldMk cId="2122675882" sldId="1915"/>
            <ac:spMk id="10" creationId="{3C7DD12B-9E6E-4004-8BFF-9FD28375435C}"/>
          </ac:spMkLst>
        </pc:spChg>
        <pc:spChg chg="del mod">
          <ac:chgData name="Bantei Sangma [Chillibreeze]" userId="e7070ce9-26a8-4d3a-99f4-f2ac4567d4da" providerId="ADAL" clId="{F2C4BB5F-38BF-4B7A-AF0B-55D83BBDADF7}" dt="2020-07-13T11:03:44.365" v="466" actId="21"/>
          <ac:spMkLst>
            <pc:docMk/>
            <pc:sldMk cId="2122675882" sldId="1915"/>
            <ac:spMk id="11" creationId="{391D3521-4F20-4F43-8CEB-FE403318D1E6}"/>
          </ac:spMkLst>
        </pc:spChg>
        <pc:spChg chg="add mod">
          <ac:chgData name="Bantei Sangma [Chillibreeze]" userId="e7070ce9-26a8-4d3a-99f4-f2ac4567d4da" providerId="ADAL" clId="{F2C4BB5F-38BF-4B7A-AF0B-55D83BBDADF7}" dt="2020-07-13T11:06:36.031" v="497" actId="13244"/>
          <ac:spMkLst>
            <pc:docMk/>
            <pc:sldMk cId="2122675882" sldId="1915"/>
            <ac:spMk id="17" creationId="{6CBB3385-482C-43E5-BE80-42447A71A8D4}"/>
          </ac:spMkLst>
        </pc:spChg>
        <pc:spChg chg="add mod">
          <ac:chgData name="Bantei Sangma [Chillibreeze]" userId="e7070ce9-26a8-4d3a-99f4-f2ac4567d4da" providerId="ADAL" clId="{F2C4BB5F-38BF-4B7A-AF0B-55D83BBDADF7}" dt="2020-07-13T11:18:29.270" v="672"/>
          <ac:spMkLst>
            <pc:docMk/>
            <pc:sldMk cId="2122675882" sldId="1915"/>
            <ac:spMk id="20" creationId="{C6A7215A-1280-419B-860B-B27C61890923}"/>
          </ac:spMkLst>
        </pc:spChg>
        <pc:grpChg chg="mod">
          <ac:chgData name="Bantei Sangma [Chillibreeze]" userId="e7070ce9-26a8-4d3a-99f4-f2ac4567d4da" providerId="ADAL" clId="{F2C4BB5F-38BF-4B7A-AF0B-55D83BBDADF7}" dt="2020-07-13T11:01:59.447" v="432" actId="338"/>
          <ac:grpSpMkLst>
            <pc:docMk/>
            <pc:sldMk cId="2122675882" sldId="1915"/>
            <ac:grpSpMk id="1" creationId="{00000000-0000-0000-0000-000000000000}"/>
          </ac:grpSpMkLst>
        </pc:grpChg>
        <pc:grpChg chg="del mod">
          <ac:chgData name="Bantei Sangma [Chillibreeze]" userId="e7070ce9-26a8-4d3a-99f4-f2ac4567d4da" providerId="ADAL" clId="{F2C4BB5F-38BF-4B7A-AF0B-55D83BBDADF7}" dt="2020-07-13T11:02:07.963" v="433" actId="165"/>
          <ac:grpSpMkLst>
            <pc:docMk/>
            <pc:sldMk cId="2122675882" sldId="1915"/>
            <ac:grpSpMk id="3" creationId="{176E053D-1ADA-48C8-9DD6-F5AD2E6C53BA}"/>
          </ac:grpSpMkLst>
        </pc:grpChg>
        <pc:grpChg chg="add mod ord">
          <ac:chgData name="Bantei Sangma [Chillibreeze]" userId="e7070ce9-26a8-4d3a-99f4-f2ac4567d4da" providerId="ADAL" clId="{F2C4BB5F-38BF-4B7A-AF0B-55D83BBDADF7}" dt="2020-07-13T11:03:06.765" v="458" actId="164"/>
          <ac:grpSpMkLst>
            <pc:docMk/>
            <pc:sldMk cId="2122675882" sldId="1915"/>
            <ac:grpSpMk id="12" creationId="{C8D614F7-B957-4BBE-B246-E418AB999506}"/>
          </ac:grpSpMkLst>
        </pc:grpChg>
        <pc:grpChg chg="add del mod">
          <ac:chgData name="Bantei Sangma [Chillibreeze]" userId="e7070ce9-26a8-4d3a-99f4-f2ac4567d4da" providerId="ADAL" clId="{F2C4BB5F-38BF-4B7A-AF0B-55D83BBDADF7}" dt="2020-07-13T11:03:21.247" v="462" actId="478"/>
          <ac:grpSpMkLst>
            <pc:docMk/>
            <pc:sldMk cId="2122675882" sldId="1915"/>
            <ac:grpSpMk id="13" creationId="{8984A294-63F5-4F90-B1E6-EB60B045CF4D}"/>
          </ac:grpSpMkLst>
        </pc:grpChg>
        <pc:picChg chg="mod">
          <ac:chgData name="Bantei Sangma [Chillibreeze]" userId="e7070ce9-26a8-4d3a-99f4-f2ac4567d4da" providerId="ADAL" clId="{F2C4BB5F-38BF-4B7A-AF0B-55D83BBDADF7}" dt="2020-07-13T11:03:06.765" v="458" actId="164"/>
          <ac:picMkLst>
            <pc:docMk/>
            <pc:sldMk cId="2122675882" sldId="1915"/>
            <ac:picMk id="8" creationId="{2AE6BE01-1290-4DB3-81E4-42EA335C3AC3}"/>
          </ac:picMkLst>
        </pc:picChg>
        <pc:picChg chg="del mod">
          <ac:chgData name="Bantei Sangma [Chillibreeze]" userId="e7070ce9-26a8-4d3a-99f4-f2ac4567d4da" providerId="ADAL" clId="{F2C4BB5F-38BF-4B7A-AF0B-55D83BBDADF7}" dt="2020-07-13T11:01:59.447" v="432" actId="338"/>
          <ac:picMkLst>
            <pc:docMk/>
            <pc:sldMk cId="2122675882" sldId="1915"/>
            <ac:picMk id="9" creationId="{3F4A1328-5ECB-48CC-9568-838CA19DF75E}"/>
          </ac:picMkLst>
        </pc:picChg>
        <pc:picChg chg="add del mod">
          <ac:chgData name="Bantei Sangma [Chillibreeze]" userId="e7070ce9-26a8-4d3a-99f4-f2ac4567d4da" providerId="ADAL" clId="{F2C4BB5F-38BF-4B7A-AF0B-55D83BBDADF7}" dt="2020-07-13T11:03:46.500" v="468" actId="21"/>
          <ac:picMkLst>
            <pc:docMk/>
            <pc:sldMk cId="2122675882" sldId="1915"/>
            <ac:picMk id="15" creationId="{167311B1-B989-41F6-BA72-EE2E3CEED466}"/>
          </ac:picMkLst>
        </pc:picChg>
        <pc:picChg chg="add mod">
          <ac:chgData name="Bantei Sangma [Chillibreeze]" userId="e7070ce9-26a8-4d3a-99f4-f2ac4567d4da" providerId="ADAL" clId="{F2C4BB5F-38BF-4B7A-AF0B-55D83BBDADF7}" dt="2020-07-13T11:35:54.997" v="1163" actId="962"/>
          <ac:picMkLst>
            <pc:docMk/>
            <pc:sldMk cId="2122675882" sldId="1915"/>
            <ac:picMk id="19" creationId="{2228953A-8867-4D73-A948-D5A5B24F6961}"/>
          </ac:picMkLst>
        </pc:picChg>
      </pc:sldChg>
      <pc:sldChg chg="addSp delSp modSp mod">
        <pc:chgData name="Bantei Sangma [Chillibreeze]" userId="e7070ce9-26a8-4d3a-99f4-f2ac4567d4da" providerId="ADAL" clId="{F2C4BB5F-38BF-4B7A-AF0B-55D83BBDADF7}" dt="2020-07-13T11:36:04.091" v="1165" actId="962"/>
        <pc:sldMkLst>
          <pc:docMk/>
          <pc:sldMk cId="1383309642" sldId="1916"/>
        </pc:sldMkLst>
        <pc:spChg chg="mod">
          <ac:chgData name="Bantei Sangma [Chillibreeze]" userId="e7070ce9-26a8-4d3a-99f4-f2ac4567d4da" providerId="ADAL" clId="{F2C4BB5F-38BF-4B7A-AF0B-55D83BBDADF7}" dt="2020-07-13T04:38:07.693" v="11"/>
          <ac:spMkLst>
            <pc:docMk/>
            <pc:sldMk cId="1383309642" sldId="1916"/>
            <ac:spMk id="2" creationId="{6C235A66-F610-4B83-9188-7E704542C7EA}"/>
          </ac:spMkLst>
        </pc:spChg>
        <pc:spChg chg="add mod">
          <ac:chgData name="Bantei Sangma [Chillibreeze]" userId="e7070ce9-26a8-4d3a-99f4-f2ac4567d4da" providerId="ADAL" clId="{F2C4BB5F-38BF-4B7A-AF0B-55D83BBDADF7}" dt="2020-07-13T11:19:00.926" v="681"/>
          <ac:spMkLst>
            <pc:docMk/>
            <pc:sldMk cId="1383309642" sldId="1916"/>
            <ac:spMk id="6" creationId="{71206D36-9B64-4EF8-AB37-61734725ACB5}"/>
          </ac:spMkLst>
        </pc:spChg>
        <pc:spChg chg="del mod">
          <ac:chgData name="Bantei Sangma [Chillibreeze]" userId="e7070ce9-26a8-4d3a-99f4-f2ac4567d4da" providerId="ADAL" clId="{F2C4BB5F-38BF-4B7A-AF0B-55D83BBDADF7}" dt="2020-07-13T11:19:03.325" v="682" actId="478"/>
          <ac:spMkLst>
            <pc:docMk/>
            <pc:sldMk cId="1383309642" sldId="1916"/>
            <ac:spMk id="11" creationId="{0E3D0088-708F-46C2-948E-DD4297652DE9}"/>
          </ac:spMkLst>
        </pc:spChg>
        <pc:grpChg chg="del mod">
          <ac:chgData name="Bantei Sangma [Chillibreeze]" userId="e7070ce9-26a8-4d3a-99f4-f2ac4567d4da" providerId="ADAL" clId="{F2C4BB5F-38BF-4B7A-AF0B-55D83BBDADF7}" dt="2020-07-13T06:08:23.825" v="189" actId="478"/>
          <ac:grpSpMkLst>
            <pc:docMk/>
            <pc:sldMk cId="1383309642" sldId="1916"/>
            <ac:grpSpMk id="3" creationId="{F50FFE2A-31F3-433C-A75B-8478C96FF4B3}"/>
          </ac:grpSpMkLst>
        </pc:grpChg>
        <pc:picChg chg="add mod">
          <ac:chgData name="Bantei Sangma [Chillibreeze]" userId="e7070ce9-26a8-4d3a-99f4-f2ac4567d4da" providerId="ADAL" clId="{F2C4BB5F-38BF-4B7A-AF0B-55D83BBDADF7}" dt="2020-07-13T11:36:04.091" v="1165" actId="962"/>
          <ac:picMkLst>
            <pc:docMk/>
            <pc:sldMk cId="1383309642" sldId="1916"/>
            <ac:picMk id="3" creationId="{08E283C1-FDAF-476C-899C-127AF90D3D83}"/>
          </ac:picMkLst>
        </pc:picChg>
        <pc:picChg chg="add del">
          <ac:chgData name="Bantei Sangma [Chillibreeze]" userId="e7070ce9-26a8-4d3a-99f4-f2ac4567d4da" providerId="ADAL" clId="{F2C4BB5F-38BF-4B7A-AF0B-55D83BBDADF7}" dt="2020-07-13T11:03:33.454" v="463" actId="478"/>
          <ac:picMkLst>
            <pc:docMk/>
            <pc:sldMk cId="1383309642" sldId="1916"/>
            <ac:picMk id="4" creationId="{B68B88CB-CABE-411F-9C35-3B5B0B1DBE5E}"/>
          </ac:picMkLst>
        </pc:picChg>
        <pc:picChg chg="add del">
          <ac:chgData name="Bantei Sangma [Chillibreeze]" userId="e7070ce9-26a8-4d3a-99f4-f2ac4567d4da" providerId="ADAL" clId="{F2C4BB5F-38BF-4B7A-AF0B-55D83BBDADF7}" dt="2020-07-13T11:03:36.218" v="464" actId="478"/>
          <ac:picMkLst>
            <pc:docMk/>
            <pc:sldMk cId="1383309642" sldId="1916"/>
            <ac:picMk id="5" creationId="{3F5A87F9-B669-4A27-9DE1-CD0843E1041E}"/>
          </ac:picMkLst>
        </pc:picChg>
      </pc:sldChg>
      <pc:sldChg chg="addSp delSp modSp mod">
        <pc:chgData name="Bantei Sangma [Chillibreeze]" userId="e7070ce9-26a8-4d3a-99f4-f2ac4567d4da" providerId="ADAL" clId="{F2C4BB5F-38BF-4B7A-AF0B-55D83BBDADF7}" dt="2020-07-13T11:44:12.796" v="1323" actId="13244"/>
        <pc:sldMkLst>
          <pc:docMk/>
          <pc:sldMk cId="1801735399" sldId="1917"/>
        </pc:sldMkLst>
        <pc:spChg chg="mod">
          <ac:chgData name="Bantei Sangma [Chillibreeze]" userId="e7070ce9-26a8-4d3a-99f4-f2ac4567d4da" providerId="ADAL" clId="{F2C4BB5F-38BF-4B7A-AF0B-55D83BBDADF7}" dt="2020-07-13T04:39:16.256" v="32"/>
          <ac:spMkLst>
            <pc:docMk/>
            <pc:sldMk cId="1801735399" sldId="1917"/>
            <ac:spMk id="2" creationId="{8B7D2504-CD52-4530-95A0-64324BCD7B4B}"/>
          </ac:spMkLst>
        </pc:spChg>
        <pc:spChg chg="add">
          <ac:chgData name="Bantei Sangma [Chillibreeze]" userId="e7070ce9-26a8-4d3a-99f4-f2ac4567d4da" providerId="ADAL" clId="{F2C4BB5F-38BF-4B7A-AF0B-55D83BBDADF7}" dt="2020-07-13T05:15:30.277" v="125" actId="22"/>
          <ac:spMkLst>
            <pc:docMk/>
            <pc:sldMk cId="1801735399" sldId="1917"/>
            <ac:spMk id="3" creationId="{2B0F54C9-B358-4402-8AEE-8F0C89B2DDA4}"/>
          </ac:spMkLst>
        </pc:spChg>
        <pc:spChg chg="add mod">
          <ac:chgData name="Bantei Sangma [Chillibreeze]" userId="e7070ce9-26a8-4d3a-99f4-f2ac4567d4da" providerId="ADAL" clId="{F2C4BB5F-38BF-4B7A-AF0B-55D83BBDADF7}" dt="2020-07-13T05:59:31.941" v="178" actId="20577"/>
          <ac:spMkLst>
            <pc:docMk/>
            <pc:sldMk cId="1801735399" sldId="1917"/>
            <ac:spMk id="4" creationId="{1B134F87-0568-4EC0-A190-9CDEFEF46D6F}"/>
          </ac:spMkLst>
        </pc:spChg>
        <pc:spChg chg="del mod">
          <ac:chgData name="Bantei Sangma [Chillibreeze]" userId="e7070ce9-26a8-4d3a-99f4-f2ac4567d4da" providerId="ADAL" clId="{F2C4BB5F-38BF-4B7A-AF0B-55D83BBDADF7}" dt="2020-07-13T11:43:53.626" v="1322" actId="478"/>
          <ac:spMkLst>
            <pc:docMk/>
            <pc:sldMk cId="1801735399" sldId="1917"/>
            <ac:spMk id="5" creationId="{5218CEFF-5AE7-4580-BBBA-7F13632FC6AC}"/>
          </ac:spMkLst>
        </pc:spChg>
        <pc:spChg chg="add mod">
          <ac:chgData name="Bantei Sangma [Chillibreeze]" userId="e7070ce9-26a8-4d3a-99f4-f2ac4567d4da" providerId="ADAL" clId="{F2C4BB5F-38BF-4B7A-AF0B-55D83BBDADF7}" dt="2020-07-13T11:44:12.796" v="1323" actId="13244"/>
          <ac:spMkLst>
            <pc:docMk/>
            <pc:sldMk cId="1801735399" sldId="1917"/>
            <ac:spMk id="6" creationId="{BCEDA91E-F715-4FF8-A6FD-E5FC23FA6F0E}"/>
          </ac:spMkLst>
        </pc:spChg>
        <pc:spChg chg="add del mod">
          <ac:chgData name="Bantei Sangma [Chillibreeze]" userId="e7070ce9-26a8-4d3a-99f4-f2ac4567d4da" providerId="ADAL" clId="{F2C4BB5F-38BF-4B7A-AF0B-55D83BBDADF7}" dt="2020-07-13T05:19:02.537" v="137" actId="478"/>
          <ac:spMkLst>
            <pc:docMk/>
            <pc:sldMk cId="1801735399" sldId="1917"/>
            <ac:spMk id="30" creationId="{8882D9EC-DE67-44B8-AE7E-5D6D935D8105}"/>
          </ac:spMkLst>
        </pc:spChg>
      </pc:sldChg>
      <pc:sldChg chg="addSp delSp modSp mod">
        <pc:chgData name="Bantei Sangma [Chillibreeze]" userId="e7070ce9-26a8-4d3a-99f4-f2ac4567d4da" providerId="ADAL" clId="{F2C4BB5F-38BF-4B7A-AF0B-55D83BBDADF7}" dt="2020-07-13T11:26:58.102" v="830" actId="299"/>
        <pc:sldMkLst>
          <pc:docMk/>
          <pc:sldMk cId="2201763488" sldId="1918"/>
        </pc:sldMkLst>
        <pc:spChg chg="mod">
          <ac:chgData name="Bantei Sangma [Chillibreeze]" userId="e7070ce9-26a8-4d3a-99f4-f2ac4567d4da" providerId="ADAL" clId="{F2C4BB5F-38BF-4B7A-AF0B-55D83BBDADF7}" dt="2020-07-13T04:38:10.280" v="13"/>
          <ac:spMkLst>
            <pc:docMk/>
            <pc:sldMk cId="2201763488" sldId="1918"/>
            <ac:spMk id="2" creationId="{D491ED86-CEFB-41E7-A879-B7A00DC930D3}"/>
          </ac:spMkLst>
        </pc:spChg>
        <pc:spChg chg="add del mod">
          <ac:chgData name="Bantei Sangma [Chillibreeze]" userId="e7070ce9-26a8-4d3a-99f4-f2ac4567d4da" providerId="ADAL" clId="{F2C4BB5F-38BF-4B7A-AF0B-55D83BBDADF7}" dt="2020-07-13T11:21:11.579" v="750" actId="21"/>
          <ac:spMkLst>
            <pc:docMk/>
            <pc:sldMk cId="2201763488" sldId="1918"/>
            <ac:spMk id="3" creationId="{71102360-D83D-4B79-8BFD-7098B8CA3952}"/>
          </ac:spMkLst>
        </pc:spChg>
        <pc:spChg chg="add del mod">
          <ac:chgData name="Bantei Sangma [Chillibreeze]" userId="e7070ce9-26a8-4d3a-99f4-f2ac4567d4da" providerId="ADAL" clId="{F2C4BB5F-38BF-4B7A-AF0B-55D83BBDADF7}" dt="2020-07-13T11:21:13.698" v="752" actId="21"/>
          <ac:spMkLst>
            <pc:docMk/>
            <pc:sldMk cId="2201763488" sldId="1918"/>
            <ac:spMk id="4" creationId="{EF86758D-4464-4226-AFAD-4B8BA7DDE555}"/>
          </ac:spMkLst>
        </pc:spChg>
        <pc:spChg chg="add">
          <ac:chgData name="Bantei Sangma [Chillibreeze]" userId="e7070ce9-26a8-4d3a-99f4-f2ac4567d4da" providerId="ADAL" clId="{F2C4BB5F-38BF-4B7A-AF0B-55D83BBDADF7}" dt="2020-07-13T11:21:12.045" v="751" actId="22"/>
          <ac:spMkLst>
            <pc:docMk/>
            <pc:sldMk cId="2201763488" sldId="1918"/>
            <ac:spMk id="5" creationId="{ADE23048-93A3-4125-8313-9DDD49076315}"/>
          </ac:spMkLst>
        </pc:spChg>
        <pc:spChg chg="add">
          <ac:chgData name="Bantei Sangma [Chillibreeze]" userId="e7070ce9-26a8-4d3a-99f4-f2ac4567d4da" providerId="ADAL" clId="{F2C4BB5F-38BF-4B7A-AF0B-55D83BBDADF7}" dt="2020-07-13T11:21:14.386" v="753" actId="22"/>
          <ac:spMkLst>
            <pc:docMk/>
            <pc:sldMk cId="2201763488" sldId="1918"/>
            <ac:spMk id="6" creationId="{F332CE28-6350-4E66-ABBA-371CBB613068}"/>
          </ac:spMkLst>
        </pc:spChg>
        <pc:spChg chg="add del mod">
          <ac:chgData name="Bantei Sangma [Chillibreeze]" userId="e7070ce9-26a8-4d3a-99f4-f2ac4567d4da" providerId="ADAL" clId="{F2C4BB5F-38BF-4B7A-AF0B-55D83BBDADF7}" dt="2020-07-13T11:23:48.288" v="803" actId="478"/>
          <ac:spMkLst>
            <pc:docMk/>
            <pc:sldMk cId="2201763488" sldId="1918"/>
            <ac:spMk id="7" creationId="{711B9FBE-4A8F-43AE-989F-95128BA94532}"/>
          </ac:spMkLst>
        </pc:spChg>
        <pc:spChg chg="add">
          <ac:chgData name="Bantei Sangma [Chillibreeze]" userId="e7070ce9-26a8-4d3a-99f4-f2ac4567d4da" providerId="ADAL" clId="{F2C4BB5F-38BF-4B7A-AF0B-55D83BBDADF7}" dt="2020-07-13T11:21:24.923" v="757" actId="22"/>
          <ac:spMkLst>
            <pc:docMk/>
            <pc:sldMk cId="2201763488" sldId="1918"/>
            <ac:spMk id="8" creationId="{A4D1BA75-9DE2-49CA-AC1D-5216A5DA2D9E}"/>
          </ac:spMkLst>
        </pc:spChg>
        <pc:spChg chg="del mod">
          <ac:chgData name="Bantei Sangma [Chillibreeze]" userId="e7070ce9-26a8-4d3a-99f4-f2ac4567d4da" providerId="ADAL" clId="{F2C4BB5F-38BF-4B7A-AF0B-55D83BBDADF7}" dt="2020-07-13T11:20:03.217" v="708" actId="478"/>
          <ac:spMkLst>
            <pc:docMk/>
            <pc:sldMk cId="2201763488" sldId="1918"/>
            <ac:spMk id="9" creationId="{64C79184-DC63-4E91-8FAD-A1086D2B41A9}"/>
          </ac:spMkLst>
        </pc:spChg>
        <pc:spChg chg="add">
          <ac:chgData name="Bantei Sangma [Chillibreeze]" userId="e7070ce9-26a8-4d3a-99f4-f2ac4567d4da" providerId="ADAL" clId="{F2C4BB5F-38BF-4B7A-AF0B-55D83BBDADF7}" dt="2020-07-13T11:21:32.453" v="759" actId="22"/>
          <ac:spMkLst>
            <pc:docMk/>
            <pc:sldMk cId="2201763488" sldId="1918"/>
            <ac:spMk id="10" creationId="{24435EC6-C9A1-407F-A49A-68A73A71E4C9}"/>
          </ac:spMkLst>
        </pc:spChg>
        <pc:spChg chg="add">
          <ac:chgData name="Bantei Sangma [Chillibreeze]" userId="e7070ce9-26a8-4d3a-99f4-f2ac4567d4da" providerId="ADAL" clId="{F2C4BB5F-38BF-4B7A-AF0B-55D83BBDADF7}" dt="2020-07-13T11:21:35.801" v="761" actId="22"/>
          <ac:spMkLst>
            <pc:docMk/>
            <pc:sldMk cId="2201763488" sldId="1918"/>
            <ac:spMk id="11" creationId="{E7FA94B2-F23F-4A7D-BC0A-BF37F16F0E0D}"/>
          </ac:spMkLst>
        </pc:spChg>
        <pc:spChg chg="del mod">
          <ac:chgData name="Bantei Sangma [Chillibreeze]" userId="e7070ce9-26a8-4d3a-99f4-f2ac4567d4da" providerId="ADAL" clId="{F2C4BB5F-38BF-4B7A-AF0B-55D83BBDADF7}" dt="2020-07-13T11:20:36.226" v="741" actId="478"/>
          <ac:spMkLst>
            <pc:docMk/>
            <pc:sldMk cId="2201763488" sldId="1918"/>
            <ac:spMk id="12" creationId="{BCFD303F-6DEC-4747-A494-A1E48CBC3C98}"/>
          </ac:spMkLst>
        </pc:spChg>
        <pc:spChg chg="add del mod">
          <ac:chgData name="Bantei Sangma [Chillibreeze]" userId="e7070ce9-26a8-4d3a-99f4-f2ac4567d4da" providerId="ADAL" clId="{F2C4BB5F-38BF-4B7A-AF0B-55D83BBDADF7}" dt="2020-07-13T11:26:58.102" v="830" actId="299"/>
          <ac:spMkLst>
            <pc:docMk/>
            <pc:sldMk cId="2201763488" sldId="1918"/>
            <ac:spMk id="13" creationId="{09B353B8-EB24-4C9B-974B-B56F9BF8F222}"/>
          </ac:spMkLst>
        </pc:spChg>
        <pc:spChg chg="del">
          <ac:chgData name="Bantei Sangma [Chillibreeze]" userId="e7070ce9-26a8-4d3a-99f4-f2ac4567d4da" providerId="ADAL" clId="{F2C4BB5F-38BF-4B7A-AF0B-55D83BBDADF7}" dt="2020-07-13T11:21:16.397" v="754" actId="21"/>
          <ac:spMkLst>
            <pc:docMk/>
            <pc:sldMk cId="2201763488" sldId="1918"/>
            <ac:spMk id="14" creationId="{6282BF46-2607-4C0D-BA8D-E657E05A410D}"/>
          </ac:spMkLst>
        </pc:spChg>
        <pc:spChg chg="del">
          <ac:chgData name="Bantei Sangma [Chillibreeze]" userId="e7070ce9-26a8-4d3a-99f4-f2ac4567d4da" providerId="ADAL" clId="{F2C4BB5F-38BF-4B7A-AF0B-55D83BBDADF7}" dt="2020-07-13T11:21:24.356" v="756" actId="21"/>
          <ac:spMkLst>
            <pc:docMk/>
            <pc:sldMk cId="2201763488" sldId="1918"/>
            <ac:spMk id="15" creationId="{AAFCA2F6-C299-4497-AA0B-08F2680B37C6}"/>
          </ac:spMkLst>
        </pc:spChg>
        <pc:spChg chg="del">
          <ac:chgData name="Bantei Sangma [Chillibreeze]" userId="e7070ce9-26a8-4d3a-99f4-f2ac4567d4da" providerId="ADAL" clId="{F2C4BB5F-38BF-4B7A-AF0B-55D83BBDADF7}" dt="2020-07-13T11:21:34.891" v="760" actId="21"/>
          <ac:spMkLst>
            <pc:docMk/>
            <pc:sldMk cId="2201763488" sldId="1918"/>
            <ac:spMk id="16" creationId="{95020A70-E47D-4D3C-8175-97312447D9BC}"/>
          </ac:spMkLst>
        </pc:spChg>
        <pc:spChg chg="mod">
          <ac:chgData name="Bantei Sangma [Chillibreeze]" userId="e7070ce9-26a8-4d3a-99f4-f2ac4567d4da" providerId="ADAL" clId="{F2C4BB5F-38BF-4B7A-AF0B-55D83BBDADF7}" dt="2020-07-13T11:22:06.619" v="763" actId="13244"/>
          <ac:spMkLst>
            <pc:docMk/>
            <pc:sldMk cId="2201763488" sldId="1918"/>
            <ac:spMk id="17" creationId="{3D980A0E-1E1D-4F8D-AD91-A0BDEBACE379}"/>
          </ac:spMkLst>
        </pc:spChg>
        <pc:spChg chg="mod">
          <ac:chgData name="Bantei Sangma [Chillibreeze]" userId="e7070ce9-26a8-4d3a-99f4-f2ac4567d4da" providerId="ADAL" clId="{F2C4BB5F-38BF-4B7A-AF0B-55D83BBDADF7}" dt="2020-07-13T11:22:14.643" v="765" actId="13244"/>
          <ac:spMkLst>
            <pc:docMk/>
            <pc:sldMk cId="2201763488" sldId="1918"/>
            <ac:spMk id="18" creationId="{EC92BF75-46EF-4BA0-8DAE-1B3DB183D96C}"/>
          </ac:spMkLst>
        </pc:spChg>
        <pc:spChg chg="del">
          <ac:chgData name="Bantei Sangma [Chillibreeze]" userId="e7070ce9-26a8-4d3a-99f4-f2ac4567d4da" providerId="ADAL" clId="{F2C4BB5F-38BF-4B7A-AF0B-55D83BBDADF7}" dt="2020-07-13T11:21:31.671" v="758" actId="21"/>
          <ac:spMkLst>
            <pc:docMk/>
            <pc:sldMk cId="2201763488" sldId="1918"/>
            <ac:spMk id="25" creationId="{7AF55B66-167E-4654-AEEA-9EDCD445EC81}"/>
          </ac:spMkLst>
        </pc:spChg>
        <pc:spChg chg="mod">
          <ac:chgData name="Bantei Sangma [Chillibreeze]" userId="e7070ce9-26a8-4d3a-99f4-f2ac4567d4da" providerId="ADAL" clId="{F2C4BB5F-38BF-4B7A-AF0B-55D83BBDADF7}" dt="2020-07-13T11:22:03.611" v="762" actId="13244"/>
          <ac:spMkLst>
            <pc:docMk/>
            <pc:sldMk cId="2201763488" sldId="1918"/>
            <ac:spMk id="26" creationId="{584C81E9-D628-4BF4-862A-35D36CA601F5}"/>
          </ac:spMkLst>
        </pc:spChg>
        <pc:spChg chg="mod">
          <ac:chgData name="Bantei Sangma [Chillibreeze]" userId="e7070ce9-26a8-4d3a-99f4-f2ac4567d4da" providerId="ADAL" clId="{F2C4BB5F-38BF-4B7A-AF0B-55D83BBDADF7}" dt="2020-07-13T11:22:10.298" v="764" actId="13244"/>
          <ac:spMkLst>
            <pc:docMk/>
            <pc:sldMk cId="2201763488" sldId="1918"/>
            <ac:spMk id="27" creationId="{A7F2E35F-77F6-4EC5-AEC0-1DFD4A8183C0}"/>
          </ac:spMkLst>
        </pc:spChg>
      </pc:sldChg>
      <pc:sldChg chg="modSp">
        <pc:chgData name="Bantei Sangma [Chillibreeze]" userId="e7070ce9-26a8-4d3a-99f4-f2ac4567d4da" providerId="ADAL" clId="{F2C4BB5F-38BF-4B7A-AF0B-55D83BBDADF7}" dt="2020-07-13T04:37:45.048" v="3"/>
        <pc:sldMkLst>
          <pc:docMk/>
          <pc:sldMk cId="3465062807" sldId="1955"/>
        </pc:sldMkLst>
        <pc:spChg chg="mod">
          <ac:chgData name="Bantei Sangma [Chillibreeze]" userId="e7070ce9-26a8-4d3a-99f4-f2ac4567d4da" providerId="ADAL" clId="{F2C4BB5F-38BF-4B7A-AF0B-55D83BBDADF7}" dt="2020-07-13T04:37:45.048" v="3"/>
          <ac:spMkLst>
            <pc:docMk/>
            <pc:sldMk cId="3465062807" sldId="1955"/>
            <ac:spMk id="2" creationId="{68B12007-FCCD-4CDA-A543-235BA547DD2F}"/>
          </ac:spMkLst>
        </pc:spChg>
      </pc:sldChg>
      <pc:sldChg chg="modSp">
        <pc:chgData name="Bantei Sangma [Chillibreeze]" userId="e7070ce9-26a8-4d3a-99f4-f2ac4567d4da" providerId="ADAL" clId="{F2C4BB5F-38BF-4B7A-AF0B-55D83BBDADF7}" dt="2020-07-13T04:37:36.547" v="1"/>
        <pc:sldMkLst>
          <pc:docMk/>
          <pc:sldMk cId="1065413711" sldId="1956"/>
        </pc:sldMkLst>
        <pc:spChg chg="mod">
          <ac:chgData name="Bantei Sangma [Chillibreeze]" userId="e7070ce9-26a8-4d3a-99f4-f2ac4567d4da" providerId="ADAL" clId="{F2C4BB5F-38BF-4B7A-AF0B-55D83BBDADF7}" dt="2020-07-13T04:37:36.547" v="1"/>
          <ac:spMkLst>
            <pc:docMk/>
            <pc:sldMk cId="1065413711" sldId="1956"/>
            <ac:spMk id="4" creationId="{0CD8665D-5A50-4F07-9D33-48CCD3FD74C7}"/>
          </ac:spMkLst>
        </pc:spChg>
      </pc:sldChg>
    </pc:docChg>
  </pc:docChgLst>
  <pc:docChgLst>
    <pc:chgData name="Marbahun" userId="f9980d50-8f48-457e-a9e2-6a97b313c7f2" providerId="ADAL" clId="{D2981CD7-4F5B-41D8-84D4-0A3F29AD08FD}"/>
    <pc:docChg chg="undo custSel modSld">
      <pc:chgData name="Marbahun" userId="f9980d50-8f48-457e-a9e2-6a97b313c7f2" providerId="ADAL" clId="{D2981CD7-4F5B-41D8-84D4-0A3F29AD08FD}" dt="2020-07-15T15:09:16.712" v="765" actId="962"/>
      <pc:docMkLst>
        <pc:docMk/>
      </pc:docMkLst>
      <pc:sldChg chg="modSp mod">
        <pc:chgData name="Marbahun" userId="f9980d50-8f48-457e-a9e2-6a97b313c7f2" providerId="ADAL" clId="{D2981CD7-4F5B-41D8-84D4-0A3F29AD08FD}" dt="2020-07-14T14:55:59.437" v="307" actId="962"/>
        <pc:sldMkLst>
          <pc:docMk/>
          <pc:sldMk cId="2501132300" sldId="1496"/>
        </pc:sldMkLst>
        <pc:picChg chg="mod">
          <ac:chgData name="Marbahun" userId="f9980d50-8f48-457e-a9e2-6a97b313c7f2" providerId="ADAL" clId="{D2981CD7-4F5B-41D8-84D4-0A3F29AD08FD}" dt="2020-07-14T14:55:59.437" v="307" actId="962"/>
          <ac:picMkLst>
            <pc:docMk/>
            <pc:sldMk cId="2501132300" sldId="1496"/>
            <ac:picMk id="3" creationId="{23FC5AE4-2558-4B47-8229-2BF461CF26E9}"/>
          </ac:picMkLst>
        </pc:picChg>
      </pc:sldChg>
      <pc:sldChg chg="addSp delSp modSp mod">
        <pc:chgData name="Marbahun" userId="f9980d50-8f48-457e-a9e2-6a97b313c7f2" providerId="ADAL" clId="{D2981CD7-4F5B-41D8-84D4-0A3F29AD08FD}" dt="2020-07-14T15:09:51.723" v="688" actId="14100"/>
        <pc:sldMkLst>
          <pc:docMk/>
          <pc:sldMk cId="1380867704" sldId="1508"/>
        </pc:sldMkLst>
        <pc:spChg chg="mod topLvl">
          <ac:chgData name="Marbahun" userId="f9980d50-8f48-457e-a9e2-6a97b313c7f2" providerId="ADAL" clId="{D2981CD7-4F5B-41D8-84D4-0A3F29AD08FD}" dt="2020-07-14T15:09:26.795" v="683" actId="165"/>
          <ac:spMkLst>
            <pc:docMk/>
            <pc:sldMk cId="1380867704" sldId="1508"/>
            <ac:spMk id="9" creationId="{5ED77C74-7937-4BF6-B4AE-CCB5A81DB49D}"/>
          </ac:spMkLst>
        </pc:spChg>
        <pc:spChg chg="mod topLvl">
          <ac:chgData name="Marbahun" userId="f9980d50-8f48-457e-a9e2-6a97b313c7f2" providerId="ADAL" clId="{D2981CD7-4F5B-41D8-84D4-0A3F29AD08FD}" dt="2020-07-14T15:09:26.795" v="683" actId="165"/>
          <ac:spMkLst>
            <pc:docMk/>
            <pc:sldMk cId="1380867704" sldId="1508"/>
            <ac:spMk id="11" creationId="{21D94EAE-7EFD-4B09-8A45-3E1CC706A51A}"/>
          </ac:spMkLst>
        </pc:spChg>
        <pc:spChg chg="del">
          <ac:chgData name="Marbahun" userId="f9980d50-8f48-457e-a9e2-6a97b313c7f2" providerId="ADAL" clId="{D2981CD7-4F5B-41D8-84D4-0A3F29AD08FD}" dt="2020-07-14T15:09:04.452" v="677" actId="478"/>
          <ac:spMkLst>
            <pc:docMk/>
            <pc:sldMk cId="1380867704" sldId="1508"/>
            <ac:spMk id="12" creationId="{032D826C-4A6B-44AB-8C59-85CF0D32EC2C}"/>
          </ac:spMkLst>
        </pc:spChg>
        <pc:spChg chg="mod topLvl">
          <ac:chgData name="Marbahun" userId="f9980d50-8f48-457e-a9e2-6a97b313c7f2" providerId="ADAL" clId="{D2981CD7-4F5B-41D8-84D4-0A3F29AD08FD}" dt="2020-07-14T15:09:26.795" v="683" actId="165"/>
          <ac:spMkLst>
            <pc:docMk/>
            <pc:sldMk cId="1380867704" sldId="1508"/>
            <ac:spMk id="13" creationId="{143F2B34-0C0F-4A8B-A3ED-BE6D43315DB9}"/>
          </ac:spMkLst>
        </pc:spChg>
        <pc:spChg chg="mod topLvl">
          <ac:chgData name="Marbahun" userId="f9980d50-8f48-457e-a9e2-6a97b313c7f2" providerId="ADAL" clId="{D2981CD7-4F5B-41D8-84D4-0A3F29AD08FD}" dt="2020-07-14T15:09:51.723" v="688" actId="14100"/>
          <ac:spMkLst>
            <pc:docMk/>
            <pc:sldMk cId="1380867704" sldId="1508"/>
            <ac:spMk id="14" creationId="{18F8F29E-1DC9-4D6C-B9C3-725B9959927C}"/>
          </ac:spMkLst>
        </pc:spChg>
        <pc:spChg chg="mod topLvl">
          <ac:chgData name="Marbahun" userId="f9980d50-8f48-457e-a9e2-6a97b313c7f2" providerId="ADAL" clId="{D2981CD7-4F5B-41D8-84D4-0A3F29AD08FD}" dt="2020-07-14T15:09:26.795" v="683" actId="165"/>
          <ac:spMkLst>
            <pc:docMk/>
            <pc:sldMk cId="1380867704" sldId="1508"/>
            <ac:spMk id="16" creationId="{ACD3FB76-FEF7-49FF-A20E-460BCF7C21F5}"/>
          </ac:spMkLst>
        </pc:spChg>
        <pc:spChg chg="mod topLvl">
          <ac:chgData name="Marbahun" userId="f9980d50-8f48-457e-a9e2-6a97b313c7f2" providerId="ADAL" clId="{D2981CD7-4F5B-41D8-84D4-0A3F29AD08FD}" dt="2020-07-14T15:09:26.795" v="683" actId="165"/>
          <ac:spMkLst>
            <pc:docMk/>
            <pc:sldMk cId="1380867704" sldId="1508"/>
            <ac:spMk id="17" creationId="{22E32292-F5A5-43F0-B193-672FEE355B53}"/>
          </ac:spMkLst>
        </pc:spChg>
        <pc:grpChg chg="add del mod">
          <ac:chgData name="Marbahun" userId="f9980d50-8f48-457e-a9e2-6a97b313c7f2" providerId="ADAL" clId="{D2981CD7-4F5B-41D8-84D4-0A3F29AD08FD}" dt="2020-07-14T15:09:26.795" v="683" actId="165"/>
          <ac:grpSpMkLst>
            <pc:docMk/>
            <pc:sldMk cId="1380867704" sldId="1508"/>
            <ac:grpSpMk id="3" creationId="{AA969327-C713-4D9D-A9CC-5B86E9AFEC4F}"/>
          </ac:grpSpMkLst>
        </pc:grpChg>
      </pc:sldChg>
      <pc:sldChg chg="modSp mod">
        <pc:chgData name="Marbahun" userId="f9980d50-8f48-457e-a9e2-6a97b313c7f2" providerId="ADAL" clId="{D2981CD7-4F5B-41D8-84D4-0A3F29AD08FD}" dt="2020-07-14T14:58:36.547" v="409" actId="962"/>
        <pc:sldMkLst>
          <pc:docMk/>
          <pc:sldMk cId="392330573" sldId="1509"/>
        </pc:sldMkLst>
        <pc:spChg chg="mod">
          <ac:chgData name="Marbahun" userId="f9980d50-8f48-457e-a9e2-6a97b313c7f2" providerId="ADAL" clId="{D2981CD7-4F5B-41D8-84D4-0A3F29AD08FD}" dt="2020-07-14T14:58:36.547" v="409" actId="962"/>
          <ac:spMkLst>
            <pc:docMk/>
            <pc:sldMk cId="392330573" sldId="1509"/>
            <ac:spMk id="20" creationId="{5C491DC2-3220-434B-AC10-3B41F184C922}"/>
          </ac:spMkLst>
        </pc:spChg>
      </pc:sldChg>
      <pc:sldChg chg="modSp mod">
        <pc:chgData name="Marbahun" userId="f9980d50-8f48-457e-a9e2-6a97b313c7f2" providerId="ADAL" clId="{D2981CD7-4F5B-41D8-84D4-0A3F29AD08FD}" dt="2020-07-15T15:07:52.348" v="744" actId="962"/>
        <pc:sldMkLst>
          <pc:docMk/>
          <pc:sldMk cId="1301972457" sldId="1511"/>
        </pc:sldMkLst>
        <pc:picChg chg="mod">
          <ac:chgData name="Marbahun" userId="f9980d50-8f48-457e-a9e2-6a97b313c7f2" providerId="ADAL" clId="{D2981CD7-4F5B-41D8-84D4-0A3F29AD08FD}" dt="2020-07-15T15:07:52.348" v="744" actId="962"/>
          <ac:picMkLst>
            <pc:docMk/>
            <pc:sldMk cId="1301972457" sldId="1511"/>
            <ac:picMk id="74" creationId="{75610433-DD06-49A8-B4EE-91F3BC6FCB69}"/>
          </ac:picMkLst>
        </pc:picChg>
      </pc:sldChg>
      <pc:sldChg chg="modSp mod">
        <pc:chgData name="Marbahun" userId="f9980d50-8f48-457e-a9e2-6a97b313c7f2" providerId="ADAL" clId="{D2981CD7-4F5B-41D8-84D4-0A3F29AD08FD}" dt="2020-07-14T15:04:41.245" v="675" actId="962"/>
        <pc:sldMkLst>
          <pc:docMk/>
          <pc:sldMk cId="160164597" sldId="1512"/>
        </pc:sldMkLst>
        <pc:grpChg chg="mod">
          <ac:chgData name="Marbahun" userId="f9980d50-8f48-457e-a9e2-6a97b313c7f2" providerId="ADAL" clId="{D2981CD7-4F5B-41D8-84D4-0A3F29AD08FD}" dt="2020-07-14T15:04:41.245" v="675" actId="962"/>
          <ac:grpSpMkLst>
            <pc:docMk/>
            <pc:sldMk cId="160164597" sldId="1512"/>
            <ac:grpSpMk id="10" creationId="{CB3F307C-CCB0-47E4-9990-2B3083510F1D}"/>
          </ac:grpSpMkLst>
        </pc:grpChg>
        <pc:picChg chg="mod">
          <ac:chgData name="Marbahun" userId="f9980d50-8f48-457e-a9e2-6a97b313c7f2" providerId="ADAL" clId="{D2981CD7-4F5B-41D8-84D4-0A3F29AD08FD}" dt="2020-07-14T15:01:36.134" v="565" actId="962"/>
          <ac:picMkLst>
            <pc:docMk/>
            <pc:sldMk cId="160164597" sldId="1512"/>
            <ac:picMk id="4" creationId="{0F76E945-5A01-4D51-B341-0BF35DA752D2}"/>
          </ac:picMkLst>
        </pc:picChg>
        <pc:picChg chg="mod">
          <ac:chgData name="Marbahun" userId="f9980d50-8f48-457e-a9e2-6a97b313c7f2" providerId="ADAL" clId="{D2981CD7-4F5B-41D8-84D4-0A3F29AD08FD}" dt="2020-07-14T15:00:25.432" v="413" actId="1076"/>
          <ac:picMkLst>
            <pc:docMk/>
            <pc:sldMk cId="160164597" sldId="1512"/>
            <ac:picMk id="5" creationId="{4B80B36B-8256-4EC6-ABA3-A9E6A1A5252C}"/>
          </ac:picMkLst>
        </pc:picChg>
      </pc:sldChg>
      <pc:sldChg chg="addSp delSp modSp mod">
        <pc:chgData name="Marbahun" userId="f9980d50-8f48-457e-a9e2-6a97b313c7f2" providerId="ADAL" clId="{D2981CD7-4F5B-41D8-84D4-0A3F29AD08FD}" dt="2020-07-15T15:09:16.712" v="765" actId="962"/>
        <pc:sldMkLst>
          <pc:docMk/>
          <pc:sldMk cId="3665884044" sldId="1871"/>
        </pc:sldMkLst>
        <pc:grpChg chg="add del mod">
          <ac:chgData name="Marbahun" userId="f9980d50-8f48-457e-a9e2-6a97b313c7f2" providerId="ADAL" clId="{D2981CD7-4F5B-41D8-84D4-0A3F29AD08FD}" dt="2020-07-15T15:09:12.946" v="764" actId="478"/>
          <ac:grpSpMkLst>
            <pc:docMk/>
            <pc:sldMk cId="3665884044" sldId="1871"/>
            <ac:grpSpMk id="3" creationId="{54719FFD-D225-4996-9B6F-BF0B545B179D}"/>
          </ac:grpSpMkLst>
        </pc:grpChg>
        <pc:picChg chg="add mod">
          <ac:chgData name="Marbahun" userId="f9980d50-8f48-457e-a9e2-6a97b313c7f2" providerId="ADAL" clId="{D2981CD7-4F5B-41D8-84D4-0A3F29AD08FD}" dt="2020-07-15T15:09:16.712" v="765" actId="962"/>
          <ac:picMkLst>
            <pc:docMk/>
            <pc:sldMk cId="3665884044" sldId="1871"/>
            <ac:picMk id="5" creationId="{3ED7AA6F-31E9-4254-83CF-BF3540ABFC59}"/>
          </ac:picMkLst>
        </pc:picChg>
        <pc:picChg chg="mod">
          <ac:chgData name="Marbahun" userId="f9980d50-8f48-457e-a9e2-6a97b313c7f2" providerId="ADAL" clId="{D2981CD7-4F5B-41D8-84D4-0A3F29AD08FD}" dt="2020-07-15T15:08:55.312" v="752" actId="962"/>
          <ac:picMkLst>
            <pc:docMk/>
            <pc:sldMk cId="3665884044" sldId="1871"/>
            <ac:picMk id="73" creationId="{A2FE9072-C86D-48D7-A84C-B36ED42348AD}"/>
          </ac:picMkLst>
        </pc:picChg>
        <pc:picChg chg="mod">
          <ac:chgData name="Marbahun" userId="f9980d50-8f48-457e-a9e2-6a97b313c7f2" providerId="ADAL" clId="{D2981CD7-4F5B-41D8-84D4-0A3F29AD08FD}" dt="2020-07-15T15:08:55.312" v="752" actId="962"/>
          <ac:picMkLst>
            <pc:docMk/>
            <pc:sldMk cId="3665884044" sldId="1871"/>
            <ac:picMk id="75" creationId="{E85AC611-9476-425E-A01E-F88133EAF5B3}"/>
          </ac:picMkLst>
        </pc:picChg>
        <pc:picChg chg="mod">
          <ac:chgData name="Marbahun" userId="f9980d50-8f48-457e-a9e2-6a97b313c7f2" providerId="ADAL" clId="{D2981CD7-4F5B-41D8-84D4-0A3F29AD08FD}" dt="2020-07-15T15:08:55.312" v="752" actId="962"/>
          <ac:picMkLst>
            <pc:docMk/>
            <pc:sldMk cId="3665884044" sldId="1871"/>
            <ac:picMk id="77" creationId="{FF08A87E-CCCC-489C-A6F5-78191DE3C882}"/>
          </ac:picMkLst>
        </pc:picChg>
        <pc:picChg chg="mod">
          <ac:chgData name="Marbahun" userId="f9980d50-8f48-457e-a9e2-6a97b313c7f2" providerId="ADAL" clId="{D2981CD7-4F5B-41D8-84D4-0A3F29AD08FD}" dt="2020-07-15T15:08:55.312" v="752" actId="962"/>
          <ac:picMkLst>
            <pc:docMk/>
            <pc:sldMk cId="3665884044" sldId="1871"/>
            <ac:picMk id="79" creationId="{982AC51F-663E-4265-8D14-3DE91DA7E062}"/>
          </ac:picMkLst>
        </pc:picChg>
        <pc:picChg chg="mod">
          <ac:chgData name="Marbahun" userId="f9980d50-8f48-457e-a9e2-6a97b313c7f2" providerId="ADAL" clId="{D2981CD7-4F5B-41D8-84D4-0A3F29AD08FD}" dt="2020-07-15T15:08:55.312" v="752" actId="962"/>
          <ac:picMkLst>
            <pc:docMk/>
            <pc:sldMk cId="3665884044" sldId="1871"/>
            <ac:picMk id="81" creationId="{42D051CD-18B6-4416-82A6-58BB9B327C49}"/>
          </ac:picMkLst>
        </pc:picChg>
        <pc:picChg chg="mod">
          <ac:chgData name="Marbahun" userId="f9980d50-8f48-457e-a9e2-6a97b313c7f2" providerId="ADAL" clId="{D2981CD7-4F5B-41D8-84D4-0A3F29AD08FD}" dt="2020-07-15T15:08:55.312" v="752" actId="962"/>
          <ac:picMkLst>
            <pc:docMk/>
            <pc:sldMk cId="3665884044" sldId="1871"/>
            <ac:picMk id="83" creationId="{A3D54FCC-4DF7-4EB9-AE5F-85D41B9D4865}"/>
          </ac:picMkLst>
        </pc:picChg>
        <pc:picChg chg="mod">
          <ac:chgData name="Marbahun" userId="f9980d50-8f48-457e-a9e2-6a97b313c7f2" providerId="ADAL" clId="{D2981CD7-4F5B-41D8-84D4-0A3F29AD08FD}" dt="2020-07-15T15:08:55.312" v="752" actId="962"/>
          <ac:picMkLst>
            <pc:docMk/>
            <pc:sldMk cId="3665884044" sldId="1871"/>
            <ac:picMk id="85" creationId="{CA213B12-FC55-47F5-A0DF-3DEB36B7EBAA}"/>
          </ac:picMkLst>
        </pc:picChg>
        <pc:cxnChg chg="mod">
          <ac:chgData name="Marbahun" userId="f9980d50-8f48-457e-a9e2-6a97b313c7f2" providerId="ADAL" clId="{D2981CD7-4F5B-41D8-84D4-0A3F29AD08FD}" dt="2020-07-15T15:09:10.366" v="763"/>
          <ac:cxnSpMkLst>
            <pc:docMk/>
            <pc:sldMk cId="3665884044" sldId="1871"/>
            <ac:cxnSpMk id="27" creationId="{D0F68274-8E7A-48C4-8A9D-3DD7F387C11D}"/>
          </ac:cxnSpMkLst>
        </pc:cxnChg>
        <pc:cxnChg chg="mod">
          <ac:chgData name="Marbahun" userId="f9980d50-8f48-457e-a9e2-6a97b313c7f2" providerId="ADAL" clId="{D2981CD7-4F5B-41D8-84D4-0A3F29AD08FD}" dt="2020-07-15T15:09:10.366" v="763"/>
          <ac:cxnSpMkLst>
            <pc:docMk/>
            <pc:sldMk cId="3665884044" sldId="1871"/>
            <ac:cxnSpMk id="29" creationId="{B7094E26-8C93-42B7-99F3-1D7CAAF1ECAC}"/>
          </ac:cxnSpMkLst>
        </pc:cxnChg>
        <pc:cxnChg chg="mod">
          <ac:chgData name="Marbahun" userId="f9980d50-8f48-457e-a9e2-6a97b313c7f2" providerId="ADAL" clId="{D2981CD7-4F5B-41D8-84D4-0A3F29AD08FD}" dt="2020-07-15T15:09:10.366" v="763"/>
          <ac:cxnSpMkLst>
            <pc:docMk/>
            <pc:sldMk cId="3665884044" sldId="1871"/>
            <ac:cxnSpMk id="30" creationId="{6ADD5252-68AA-4C2D-8411-A73FFCB911B6}"/>
          </ac:cxnSpMkLst>
        </pc:cxnChg>
        <pc:cxnChg chg="mod">
          <ac:chgData name="Marbahun" userId="f9980d50-8f48-457e-a9e2-6a97b313c7f2" providerId="ADAL" clId="{D2981CD7-4F5B-41D8-84D4-0A3F29AD08FD}" dt="2020-07-15T15:09:10.366" v="763"/>
          <ac:cxnSpMkLst>
            <pc:docMk/>
            <pc:sldMk cId="3665884044" sldId="1871"/>
            <ac:cxnSpMk id="31" creationId="{F024E719-956D-47A7-90F6-932E5F628CC3}"/>
          </ac:cxnSpMkLst>
        </pc:cxnChg>
        <pc:cxnChg chg="mod">
          <ac:chgData name="Marbahun" userId="f9980d50-8f48-457e-a9e2-6a97b313c7f2" providerId="ADAL" clId="{D2981CD7-4F5B-41D8-84D4-0A3F29AD08FD}" dt="2020-07-15T15:09:10.366" v="763"/>
          <ac:cxnSpMkLst>
            <pc:docMk/>
            <pc:sldMk cId="3665884044" sldId="1871"/>
            <ac:cxnSpMk id="32" creationId="{C9E6A0E5-D6BF-4488-B64B-A4311FB14DDF}"/>
          </ac:cxnSpMkLst>
        </pc:cxnChg>
        <pc:cxnChg chg="mod">
          <ac:chgData name="Marbahun" userId="f9980d50-8f48-457e-a9e2-6a97b313c7f2" providerId="ADAL" clId="{D2981CD7-4F5B-41D8-84D4-0A3F29AD08FD}" dt="2020-07-15T15:09:10.366" v="763"/>
          <ac:cxnSpMkLst>
            <pc:docMk/>
            <pc:sldMk cId="3665884044" sldId="1871"/>
            <ac:cxnSpMk id="33" creationId="{1D5E6AFF-94F6-4F2E-B3D5-5D980F1047B6}"/>
          </ac:cxnSpMkLst>
        </pc:cxnChg>
      </pc:sldChg>
      <pc:sldChg chg="addSp delSp modSp mod">
        <pc:chgData name="Marbahun" userId="f9980d50-8f48-457e-a9e2-6a97b313c7f2" providerId="ADAL" clId="{D2981CD7-4F5B-41D8-84D4-0A3F29AD08FD}" dt="2020-07-15T15:08:22.185" v="751" actId="13244"/>
        <pc:sldMkLst>
          <pc:docMk/>
          <pc:sldMk cId="1801735399" sldId="1917"/>
        </pc:sldMkLst>
        <pc:spChg chg="del mod">
          <ac:chgData name="Marbahun" userId="f9980d50-8f48-457e-a9e2-6a97b313c7f2" providerId="ADAL" clId="{D2981CD7-4F5B-41D8-84D4-0A3F29AD08FD}" dt="2020-07-15T15:08:03.661" v="747" actId="478"/>
          <ac:spMkLst>
            <pc:docMk/>
            <pc:sldMk cId="1801735399" sldId="1917"/>
            <ac:spMk id="3" creationId="{2B0F54C9-B358-4402-8AEE-8F0C89B2DDA4}"/>
          </ac:spMkLst>
        </pc:spChg>
        <pc:picChg chg="add del">
          <ac:chgData name="Marbahun" userId="f9980d50-8f48-457e-a9e2-6a97b313c7f2" providerId="ADAL" clId="{D2981CD7-4F5B-41D8-84D4-0A3F29AD08FD}" dt="2020-07-15T15:08:04.877" v="749" actId="22"/>
          <ac:picMkLst>
            <pc:docMk/>
            <pc:sldMk cId="1801735399" sldId="1917"/>
            <ac:picMk id="8" creationId="{7E0154F1-03E1-4CF3-BC54-2131E882AE00}"/>
          </ac:picMkLst>
        </pc:picChg>
        <pc:picChg chg="add mod">
          <ac:chgData name="Marbahun" userId="f9980d50-8f48-457e-a9e2-6a97b313c7f2" providerId="ADAL" clId="{D2981CD7-4F5B-41D8-84D4-0A3F29AD08FD}" dt="2020-07-15T15:08:22.185" v="751" actId="13244"/>
          <ac:picMkLst>
            <pc:docMk/>
            <pc:sldMk cId="1801735399" sldId="1917"/>
            <ac:picMk id="10" creationId="{63E50EEE-648C-4446-92D1-89C5AA185863}"/>
          </ac:picMkLst>
        </pc:picChg>
      </pc:sldChg>
      <pc:sldChg chg="modSp mod">
        <pc:chgData name="Marbahun" userId="f9980d50-8f48-457e-a9e2-6a97b313c7f2" providerId="ADAL" clId="{D2981CD7-4F5B-41D8-84D4-0A3F29AD08FD}" dt="2020-07-14T14:56:38.769" v="359" actId="962"/>
        <pc:sldMkLst>
          <pc:docMk/>
          <pc:sldMk cId="2201763488" sldId="1918"/>
        </pc:sldMkLst>
        <pc:spChg chg="mod">
          <ac:chgData name="Marbahun" userId="f9980d50-8f48-457e-a9e2-6a97b313c7f2" providerId="ADAL" clId="{D2981CD7-4F5B-41D8-84D4-0A3F29AD08FD}" dt="2020-07-14T14:56:28.571" v="355" actId="962"/>
          <ac:spMkLst>
            <pc:docMk/>
            <pc:sldMk cId="2201763488" sldId="1918"/>
            <ac:spMk id="10" creationId="{24435EC6-C9A1-407F-A49A-68A73A71E4C9}"/>
          </ac:spMkLst>
        </pc:spChg>
        <pc:spChg chg="mod">
          <ac:chgData name="Marbahun" userId="f9980d50-8f48-457e-a9e2-6a97b313c7f2" providerId="ADAL" clId="{D2981CD7-4F5B-41D8-84D4-0A3F29AD08FD}" dt="2020-07-14T14:56:35.683" v="357" actId="962"/>
          <ac:spMkLst>
            <pc:docMk/>
            <pc:sldMk cId="2201763488" sldId="1918"/>
            <ac:spMk id="26" creationId="{584C81E9-D628-4BF4-862A-35D36CA601F5}"/>
          </ac:spMkLst>
        </pc:spChg>
        <pc:spChg chg="mod">
          <ac:chgData name="Marbahun" userId="f9980d50-8f48-457e-a9e2-6a97b313c7f2" providerId="ADAL" clId="{D2981CD7-4F5B-41D8-84D4-0A3F29AD08FD}" dt="2020-07-14T14:56:38.769" v="359" actId="962"/>
          <ac:spMkLst>
            <pc:docMk/>
            <pc:sldMk cId="2201763488" sldId="1918"/>
            <ac:spMk id="27" creationId="{A7F2E35F-77F6-4EC5-AEC0-1DFD4A8183C0}"/>
          </ac:spMkLst>
        </pc:spChg>
      </pc:sldChg>
      <pc:sldChg chg="modSp mod">
        <pc:chgData name="Marbahun" userId="f9980d50-8f48-457e-a9e2-6a97b313c7f2" providerId="ADAL" clId="{D2981CD7-4F5B-41D8-84D4-0A3F29AD08FD}" dt="2020-07-15T15:02:16.023" v="702" actId="962"/>
        <pc:sldMkLst>
          <pc:docMk/>
          <pc:sldMk cId="3981396567" sldId="1952"/>
        </pc:sldMkLst>
        <pc:picChg chg="mod">
          <ac:chgData name="Marbahun" userId="f9980d50-8f48-457e-a9e2-6a97b313c7f2" providerId="ADAL" clId="{D2981CD7-4F5B-41D8-84D4-0A3F29AD08FD}" dt="2020-07-15T15:02:16.023" v="702" actId="962"/>
          <ac:picMkLst>
            <pc:docMk/>
            <pc:sldMk cId="3981396567" sldId="1952"/>
            <ac:picMk id="40" creationId="{2B4CB5E3-E61C-4819-8148-3FD58770EFC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7/22/2020 4:5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7/22/2020 4:5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panose="020B0502040204020203"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596744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Q1 Answer</a:t>
            </a:r>
            <a:r>
              <a:rPr lang="en-US"/>
              <a:t>: </a:t>
            </a:r>
            <a:r>
              <a:rPr lang="en-US" b="0" i="0" u="none" strike="noStrike">
                <a:effectLst/>
                <a:latin typeface="Segoe UI" panose="020B0502040204020203" pitchFamily="34" charset="0"/>
              </a:rPr>
              <a:t>Bugs, security vulnerabilities, and licensing issues </a:t>
            </a:r>
          </a:p>
          <a:p>
            <a:r>
              <a:rPr lang="en-US" b="1"/>
              <a:t>Q2 Answer: </a:t>
            </a:r>
            <a:r>
              <a:rPr lang="en-US" b="0" i="0" u="none" strike="noStrike">
                <a:effectLst/>
                <a:latin typeface="Segoe UI" panose="020B0502040204020203" pitchFamily="34" charset="0"/>
              </a:rPr>
              <a:t>Each library has usage restrictions as part of the licensing. These restrictions might not be compatible with your intended application use. </a:t>
            </a:r>
          </a:p>
          <a:p>
            <a:r>
              <a:rPr lang="en-US" b="1"/>
              <a:t>Q3 Answer</a:t>
            </a:r>
            <a:r>
              <a:rPr lang="en-US" b="0"/>
              <a:t>: </a:t>
            </a:r>
            <a:r>
              <a:rPr lang="en-US" sz="1200" b="0" i="0" u="none" strike="noStrike" kern="1200">
                <a:solidFill>
                  <a:schemeClr val="tx1"/>
                </a:solidFill>
                <a:effectLst/>
                <a:latin typeface="+mn-lt"/>
                <a:ea typeface="+mn-ea"/>
                <a:cs typeface="+mn-cs"/>
              </a:rPr>
              <a:t>Reader</a:t>
            </a:r>
          </a:p>
          <a:p>
            <a:r>
              <a:rPr lang="en-US" sz="1200" b="1" i="0" u="none" strike="noStrike" kern="1200">
                <a:solidFill>
                  <a:schemeClr val="tx1"/>
                </a:solidFill>
                <a:effectLst/>
                <a:latin typeface="+mn-lt"/>
                <a:ea typeface="+mn-ea"/>
                <a:cs typeface="+mn-cs"/>
              </a:rPr>
              <a:t>Q4 Answer</a:t>
            </a:r>
            <a:r>
              <a:rPr lang="en-US" sz="1200" b="0" i="0" u="none" strike="noStrike" kern="1200">
                <a:solidFill>
                  <a:schemeClr val="tx1"/>
                </a:solidFill>
                <a:effectLst/>
                <a:latin typeface="+mn-lt"/>
                <a:ea typeface="+mn-ea"/>
                <a:cs typeface="+mn-cs"/>
              </a:rPr>
              <a:t>: </a:t>
            </a:r>
            <a:r>
              <a:rPr lang="en-US" b="0" i="0" u="none" strike="noStrike">
                <a:effectLst/>
                <a:latin typeface="Segoe UI" panose="020B0502040204020203" pitchFamily="34" charset="0"/>
              </a:rPr>
              <a:t>A type of software where users of code are permitted to study, change, and distribute the software. The open source license type can limit the actions (such as sale provisions) that can be taken. </a:t>
            </a:r>
          </a:p>
          <a:p>
            <a:r>
              <a:rPr lang="en-US" sz="1200" b="1" i="0" u="none" strike="noStrike" kern="1200">
                <a:solidFill>
                  <a:schemeClr val="tx1"/>
                </a:solidFill>
                <a:effectLst/>
                <a:latin typeface="Segoe UI" panose="020B0502040204020203" pitchFamily="34" charset="0"/>
                <a:ea typeface="+mn-ea"/>
                <a:cs typeface="+mn-cs"/>
              </a:rPr>
              <a:t>Q5 Answer</a:t>
            </a:r>
            <a:r>
              <a:rPr lang="en-US" sz="1200" b="0" i="0" u="none" strike="noStrike" kern="1200">
                <a:solidFill>
                  <a:schemeClr val="tx1"/>
                </a:solidFill>
                <a:effectLst/>
                <a:latin typeface="Segoe UI" panose="020B0502040204020203" pitchFamily="34" charset="0"/>
                <a:ea typeface="+mn-ea"/>
                <a:cs typeface="+mn-cs"/>
              </a:rPr>
              <a:t>: </a:t>
            </a:r>
            <a:r>
              <a:rPr lang="en-US" b="0" i="0" u="none" strike="noStrike">
                <a:effectLst/>
                <a:latin typeface="Segoe UI" panose="020B0502040204020203" pitchFamily="34" charset="0"/>
              </a:rPr>
              <a:t>By using an .</a:t>
            </a:r>
            <a:r>
              <a:rPr lang="en-US" b="0" i="0" u="none" strike="noStrike" err="1">
                <a:effectLst/>
                <a:latin typeface="Segoe UI" panose="020B0502040204020203" pitchFamily="34" charset="0"/>
              </a:rPr>
              <a:t>artifactignore</a:t>
            </a:r>
            <a:r>
              <a:rPr lang="en-US" b="0" i="0" u="none" strike="noStrike">
                <a:effectLst/>
                <a:latin typeface="Segoe UI" panose="020B0502040204020203" pitchFamily="34" charset="0"/>
              </a:rPr>
              <a:t> file</a:t>
            </a:r>
            <a:endParaRPr lang="en-US" sz="1200" b="0" i="0" u="none" strike="noStrike" kern="1200">
              <a:solidFill>
                <a:schemeClr val="tx1"/>
              </a:solidFill>
              <a:effectLst/>
              <a:latin typeface="+mn-lt"/>
              <a:ea typeface="+mn-ea"/>
              <a:cs typeface="+mn-cs"/>
            </a:endParaRPr>
          </a:p>
          <a:p>
            <a:endParaRPr lang="en-US" b="0"/>
          </a:p>
        </p:txBody>
      </p:sp>
      <p:sp>
        <p:nvSpPr>
          <p:cNvPr id="4" name="Slide Number Placeholder 3"/>
          <p:cNvSpPr>
            <a:spLocks noGrp="1"/>
          </p:cNvSpPr>
          <p:nvPr>
            <p:ph type="sldNum" sz="quarter" idx="5"/>
          </p:nvPr>
        </p:nvSpPr>
        <p:spPr/>
        <p:txBody>
          <a:bodyPr/>
          <a:lstStyle/>
          <a:p>
            <a:fld id="{E1234E77-A9B7-4E08-94CE-2EBEF68CD23B}" type="slidenum">
              <a:rPr lang="en-US" smtClean="0"/>
              <a:t>38</a:t>
            </a:fld>
            <a:endParaRPr lang="en-US"/>
          </a:p>
        </p:txBody>
      </p:sp>
    </p:spTree>
    <p:extLst>
      <p:ext uri="{BB962C8B-B14F-4D97-AF65-F5344CB8AC3E}">
        <p14:creationId xmlns:p14="http://schemas.microsoft.com/office/powerpoint/2010/main" val="3255155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69508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901888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153056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750620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4E77-A9B7-4E08-94CE-2EBEF68CD23B}" type="slidenum">
              <a:rPr lang="en-US" smtClean="0"/>
              <a:t>23</a:t>
            </a:fld>
            <a:endParaRPr lang="en-US"/>
          </a:p>
        </p:txBody>
      </p:sp>
    </p:spTree>
    <p:extLst>
      <p:ext uri="{BB962C8B-B14F-4D97-AF65-F5344CB8AC3E}">
        <p14:creationId xmlns:p14="http://schemas.microsoft.com/office/powerpoint/2010/main" val="15609800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22/2020 4:5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60017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naging Open-Source Security and License with </a:t>
            </a:r>
            <a:r>
              <a:rPr lang="en-US" err="1"/>
              <a:t>Whitesource</a:t>
            </a:r>
            <a:r>
              <a:rPr lang="en-US"/>
              <a:t> - h</a:t>
            </a:r>
            <a:r>
              <a:rPr lang="en-US" b="0">
                <a:solidFill>
                  <a:srgbClr val="A31515"/>
                </a:solidFill>
                <a:effectLst/>
                <a:latin typeface="Consolas" panose="020B0609020204030204" pitchFamily="49" charset="0"/>
              </a:rPr>
              <a:t>ttps://www.azuredevopslabs.com/labs/vstsextend/WhiteSourc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22/2020 4:5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1358554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954233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descr="Microsoft Azure logo">
            <a:extLst>
              <a:ext uri="{FF2B5EF4-FFF2-40B4-BE49-F238E27FC236}">
                <a16:creationId xmlns:a16="http://schemas.microsoft.com/office/drawing/2014/main" id="{AFDC29EE-BDE7-4363-B0FC-728521A366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63276" y="448056"/>
            <a:ext cx="1362456" cy="192347"/>
          </a:xfrm>
          <a:prstGeom prst="rect">
            <a:avLst/>
          </a:prstGeom>
        </p:spPr>
      </p:pic>
      <p:sp>
        <p:nvSpPr>
          <p:cNvPr id="8" name="Title 1">
            <a:extLst>
              <a:ext uri="{FF2B5EF4-FFF2-40B4-BE49-F238E27FC236}">
                <a16:creationId xmlns:a16="http://schemas.microsoft.com/office/drawing/2014/main" id="{1D09A9D1-6212-8B49-96D7-B3E9D17D4BAB}"/>
              </a:ext>
            </a:extLst>
          </p:cNvPr>
          <p:cNvSpPr>
            <a:spLocks noGrp="1"/>
          </p:cNvSpPr>
          <p:nvPr>
            <p:ph type="title"/>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endParaRPr lang="en-US"/>
          </a:p>
        </p:txBody>
      </p:sp>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strike="noStrike">
                <a:solidFill>
                  <a:srgbClr val="000000"/>
                </a:solidFill>
              </a:defRPr>
            </a:lvl1pPr>
          </a:lstStyle>
          <a:p>
            <a:r>
              <a:rPr lang="en-US"/>
              <a:t>Title</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3292078"/>
            <a:ext cx="2506662" cy="410369"/>
          </a:xfrm>
          <a:prstGeom prst="rect">
            <a:avLst/>
          </a:prstGeom>
        </p:spPr>
        <p:txBody>
          <a:bodyPr wrap="square" lIns="0" tIns="0" rIns="0" bIns="0" anchor="ctr">
            <a:spAutoFit/>
          </a:bodyPr>
          <a:lstStyle>
            <a:lvl1pPr>
              <a:lnSpc>
                <a:spcPts val="3200"/>
              </a:lnSpc>
              <a:defRPr sz="2800" strike="noStrike">
                <a:solidFill>
                  <a:schemeClr val="bg1"/>
                </a:solidFill>
              </a:defRPr>
            </a:lvl1pPr>
          </a:lstStyle>
          <a:p>
            <a:r>
              <a:rPr lang="en-US"/>
              <a:t>Title</a:t>
            </a:r>
          </a:p>
        </p:txBody>
      </p:sp>
    </p:spTree>
    <p:extLst>
      <p:ext uri="{BB962C8B-B14F-4D97-AF65-F5344CB8AC3E}">
        <p14:creationId xmlns:p14="http://schemas.microsoft.com/office/powerpoint/2010/main" val="3022804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tx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FDE817-4581-481C-9C54-D23C2F82ACA3}"/>
              </a:ext>
            </a:extLst>
          </p:cNvPr>
          <p:cNvSpPr>
            <a:spLocks noGrp="1"/>
          </p:cNvSpPr>
          <p:nvPr>
            <p:ph type="title" hasCustomPrompt="1"/>
          </p:nvPr>
        </p:nvSpPr>
        <p:spPr>
          <a:xfrm>
            <a:off x="427039" y="3289513"/>
            <a:ext cx="9240836" cy="415498"/>
          </a:xfrm>
          <a:noFill/>
        </p:spPr>
        <p:txBody>
          <a:bodyPr wrap="square" lIns="0" tIns="0" rIns="0" bIns="0" anchor="ctr" anchorCtr="0">
            <a:spAutoFit/>
          </a:bodyPr>
          <a:lstStyle>
            <a:lvl1pPr algn="l" defTabSz="951304" rtl="0" eaLnBrk="1" latinLnBrk="0" hangingPunct="1">
              <a:lnSpc>
                <a:spcPct val="90000"/>
              </a:lnSpc>
              <a:spcBef>
                <a:spcPct val="0"/>
              </a:spcBef>
              <a:buNone/>
              <a:defRPr lang="en-US" sz="3000" b="0" kern="1200" cap="none" spc="-5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961202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2518071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a:t>Click icon to add picture</a:t>
            </a:r>
          </a:p>
        </p:txBody>
      </p:sp>
    </p:spTree>
    <p:extLst>
      <p:ext uri="{BB962C8B-B14F-4D97-AF65-F5344CB8AC3E}">
        <p14:creationId xmlns:p14="http://schemas.microsoft.com/office/powerpoint/2010/main" val="225441022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83" r:id="rId1"/>
    <p:sldLayoutId id="2147484562" r:id="rId2"/>
    <p:sldLayoutId id="2147484617" r:id="rId3"/>
    <p:sldLayoutId id="2147484580" r:id="rId4"/>
    <p:sldLayoutId id="2147484563" r:id="rId5"/>
    <p:sldLayoutId id="2147484622" r:id="rId6"/>
    <p:sldLayoutId id="2147484615" r:id="rId7"/>
    <p:sldLayoutId id="2147484572" r:id="rId8"/>
    <p:sldLayoutId id="2147484623" r:id="rId9"/>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en.wikipedia.org/wiki/Open-source_software" TargetMode="External"/><Relationship Id="rId2" Type="http://schemas.openxmlformats.org/officeDocument/2006/relationships/image" Target="../media/image32.w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wmf"/><Relationship Id="rId7" Type="http://schemas.openxmlformats.org/officeDocument/2006/relationships/image" Target="../media/image37.wmf"/><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6.wmf"/><Relationship Id="rId5" Type="http://schemas.openxmlformats.org/officeDocument/2006/relationships/image" Target="../media/image35.wmf"/><Relationship Id="rId4" Type="http://schemas.openxmlformats.org/officeDocument/2006/relationships/image" Target="../media/image34.emf"/></Relationships>
</file>

<file path=ppt/slides/_rels/slide16.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1.wmf"/><Relationship Id="rId5" Type="http://schemas.openxmlformats.org/officeDocument/2006/relationships/image" Target="../media/image40.wmf"/><Relationship Id="rId4" Type="http://schemas.openxmlformats.org/officeDocument/2006/relationships/image" Target="../media/image39.emf"/></Relationships>
</file>

<file path=ppt/slides/_rels/slide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image" Target="../media/image8.wmf"/><Relationship Id="rId7" Type="http://schemas.openxmlformats.org/officeDocument/2006/relationships/image" Target="../media/image12.w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wmf"/><Relationship Id="rId5" Type="http://schemas.openxmlformats.org/officeDocument/2006/relationships/image" Target="../media/image10.wmf"/><Relationship Id="rId4" Type="http://schemas.openxmlformats.org/officeDocument/2006/relationships/image" Target="../media/image9.wmf"/><Relationship Id="rId9" Type="http://schemas.openxmlformats.org/officeDocument/2006/relationships/image" Target="../media/image14.wmf"/></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slideLayout" Target="../slideLayouts/slideLayout2.xml"/><Relationship Id="rId5" Type="http://schemas.openxmlformats.org/officeDocument/2006/relationships/image" Target="../media/image52.emf"/><Relationship Id="rId4" Type="http://schemas.openxmlformats.org/officeDocument/2006/relationships/image" Target="../media/image51.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s://www.azuredevopslabs.com/labs/vstsextend/WhiteSource"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36.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image" Target="../media/image56.emf"/><Relationship Id="rId7" Type="http://schemas.openxmlformats.org/officeDocument/2006/relationships/image" Target="../media/image60.em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9.emf"/><Relationship Id="rId5" Type="http://schemas.openxmlformats.org/officeDocument/2006/relationships/image" Target="../media/image58.emf"/><Relationship Id="rId10" Type="http://schemas.openxmlformats.org/officeDocument/2006/relationships/image" Target="../media/image63.wmf"/><Relationship Id="rId4" Type="http://schemas.openxmlformats.org/officeDocument/2006/relationships/image" Target="../media/image57.emf"/><Relationship Id="rId9" Type="http://schemas.openxmlformats.org/officeDocument/2006/relationships/image" Target="../media/image62.emf"/></Relationships>
</file>

<file path=ppt/slides/_rels/slide38.xml.rels><?xml version="1.0" encoding="UTF-8" standalone="yes"?>
<Relationships xmlns="http://schemas.openxmlformats.org/package/2006/relationships"><Relationship Id="rId3" Type="http://schemas.openxmlformats.org/officeDocument/2006/relationships/image" Target="../media/image64.w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image" Target="../media/image15.wmf"/><Relationship Id="rId7" Type="http://schemas.openxmlformats.org/officeDocument/2006/relationships/image" Target="../media/image19.w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8.wmf"/><Relationship Id="rId5" Type="http://schemas.openxmlformats.org/officeDocument/2006/relationships/image" Target="../media/image17.wmf"/><Relationship Id="rId4" Type="http://schemas.openxmlformats.org/officeDocument/2006/relationships/image" Target="../media/image16.wmf"/><Relationship Id="rId9" Type="http://schemas.openxmlformats.org/officeDocument/2006/relationships/image" Target="../media/image21.wmf"/></Relationships>
</file>

<file path=ppt/slides/_rels/slide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emf"/><Relationship Id="rId1" Type="http://schemas.openxmlformats.org/officeDocument/2006/relationships/slideLayout" Target="../slideLayouts/slideLayout2.xml"/><Relationship Id="rId4" Type="http://schemas.openxmlformats.org/officeDocument/2006/relationships/image" Target="../media/image26.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56474-6022-48BB-A434-CF09068ED1E2}"/>
              </a:ext>
            </a:extLst>
          </p:cNvPr>
          <p:cNvSpPr>
            <a:spLocks noGrp="1"/>
          </p:cNvSpPr>
          <p:nvPr>
            <p:ph type="title"/>
          </p:nvPr>
        </p:nvSpPr>
        <p:spPr>
          <a:xfrm>
            <a:off x="437277" y="3636962"/>
            <a:ext cx="5537797" cy="1828800"/>
          </a:xfrm>
        </p:spPr>
        <p:txBody>
          <a:bodyPr/>
          <a:lstStyle/>
          <a:p>
            <a:r>
              <a:rPr lang="en-US" sz="4400" dirty="0"/>
              <a:t>AZ-400.00</a:t>
            </a:r>
            <a:br>
              <a:rPr lang="en-US" sz="4400" dirty="0"/>
            </a:br>
            <a:r>
              <a:rPr lang="en-US" sz="4400" dirty="0"/>
              <a:t>Module 9:</a:t>
            </a:r>
            <a:br>
              <a:rPr lang="en-US" sz="4400" dirty="0"/>
            </a:br>
            <a:r>
              <a:rPr lang="en-US" sz="4400" dirty="0"/>
              <a:t>Manage artifact versioning, security and compliance</a:t>
            </a:r>
          </a:p>
        </p:txBody>
      </p:sp>
    </p:spTree>
    <p:extLst>
      <p:ext uri="{BB962C8B-B14F-4D97-AF65-F5344CB8AC3E}">
        <p14:creationId xmlns:p14="http://schemas.microsoft.com/office/powerpoint/2010/main" val="25430097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BC228-095B-4F9A-B618-D40AEB064FAC}"/>
              </a:ext>
            </a:extLst>
          </p:cNvPr>
          <p:cNvSpPr>
            <a:spLocks noGrp="1"/>
          </p:cNvSpPr>
          <p:nvPr>
            <p:ph type="title"/>
          </p:nvPr>
        </p:nvSpPr>
        <p:spPr/>
        <p:txBody>
          <a:bodyPr/>
          <a:lstStyle/>
          <a:p>
            <a:r>
              <a:rPr lang="en-US"/>
              <a:t>Permissions</a:t>
            </a:r>
          </a:p>
        </p:txBody>
      </p:sp>
      <p:sp>
        <p:nvSpPr>
          <p:cNvPr id="4" name="Rectangle 3">
            <a:extLst>
              <a:ext uri="{FF2B5EF4-FFF2-40B4-BE49-F238E27FC236}">
                <a16:creationId xmlns:a16="http://schemas.microsoft.com/office/drawing/2014/main" id="{FD483274-C30B-45CD-B638-369AC843DEF0}"/>
              </a:ext>
            </a:extLst>
          </p:cNvPr>
          <p:cNvSpPr/>
          <p:nvPr/>
        </p:nvSpPr>
        <p:spPr>
          <a:xfrm>
            <a:off x="466344" y="1188720"/>
            <a:ext cx="11531979" cy="369332"/>
          </a:xfrm>
          <a:prstGeom prst="rect">
            <a:avLst/>
          </a:prstGeom>
        </p:spPr>
        <p:txBody>
          <a:bodyPr wrap="square" lIns="0" tIns="0" rIns="0" bIns="0">
            <a:spAutoFit/>
          </a:bodyPr>
          <a:lstStyle/>
          <a:p>
            <a:r>
              <a:rPr lang="en-US" sz="2400">
                <a:latin typeface="+mj-lt"/>
              </a:rPr>
              <a:t>Roles have certain permissions</a:t>
            </a:r>
          </a:p>
        </p:txBody>
      </p:sp>
      <p:graphicFrame>
        <p:nvGraphicFramePr>
          <p:cNvPr id="5" name="Table 7">
            <a:extLst>
              <a:ext uri="{FF2B5EF4-FFF2-40B4-BE49-F238E27FC236}">
                <a16:creationId xmlns:a16="http://schemas.microsoft.com/office/drawing/2014/main" id="{BB2E8574-165F-401A-B5E3-4F49F153932F}"/>
              </a:ext>
            </a:extLst>
          </p:cNvPr>
          <p:cNvGraphicFramePr>
            <a:graphicFrameLocks noGrp="1"/>
          </p:cNvGraphicFramePr>
          <p:nvPr>
            <p:extLst>
              <p:ext uri="{D42A27DB-BD31-4B8C-83A1-F6EECF244321}">
                <p14:modId xmlns:p14="http://schemas.microsoft.com/office/powerpoint/2010/main" val="2981964440"/>
              </p:ext>
            </p:extLst>
          </p:nvPr>
        </p:nvGraphicFramePr>
        <p:xfrm>
          <a:off x="427039" y="1712912"/>
          <a:ext cx="11571284" cy="3657600"/>
        </p:xfrm>
        <a:graphic>
          <a:graphicData uri="http://schemas.openxmlformats.org/drawingml/2006/table">
            <a:tbl>
              <a:tblPr firstRow="1" bandRow="1">
                <a:tableStyleId>{5C22544A-7EE6-4342-B048-85BDC9FD1C3A}</a:tableStyleId>
              </a:tblPr>
              <a:tblGrid>
                <a:gridCol w="4217532">
                  <a:extLst>
                    <a:ext uri="{9D8B030D-6E8A-4147-A177-3AD203B41FA5}">
                      <a16:colId xmlns:a16="http://schemas.microsoft.com/office/drawing/2014/main" val="1259652267"/>
                    </a:ext>
                  </a:extLst>
                </a:gridCol>
                <a:gridCol w="1838438">
                  <a:extLst>
                    <a:ext uri="{9D8B030D-6E8A-4147-A177-3AD203B41FA5}">
                      <a16:colId xmlns:a16="http://schemas.microsoft.com/office/drawing/2014/main" val="3000386703"/>
                    </a:ext>
                  </a:extLst>
                </a:gridCol>
                <a:gridCol w="1838438">
                  <a:extLst>
                    <a:ext uri="{9D8B030D-6E8A-4147-A177-3AD203B41FA5}">
                      <a16:colId xmlns:a16="http://schemas.microsoft.com/office/drawing/2014/main" val="4083588108"/>
                    </a:ext>
                  </a:extLst>
                </a:gridCol>
                <a:gridCol w="1838438">
                  <a:extLst>
                    <a:ext uri="{9D8B030D-6E8A-4147-A177-3AD203B41FA5}">
                      <a16:colId xmlns:a16="http://schemas.microsoft.com/office/drawing/2014/main" val="529973161"/>
                    </a:ext>
                  </a:extLst>
                </a:gridCol>
                <a:gridCol w="1838438">
                  <a:extLst>
                    <a:ext uri="{9D8B030D-6E8A-4147-A177-3AD203B41FA5}">
                      <a16:colId xmlns:a16="http://schemas.microsoft.com/office/drawing/2014/main" val="3786717099"/>
                    </a:ext>
                  </a:extLst>
                </a:gridCol>
              </a:tblGrid>
              <a:tr h="457200">
                <a:tc>
                  <a:txBody>
                    <a:bodyPr/>
                    <a:lstStyle/>
                    <a:p>
                      <a:r>
                        <a:rPr lang="en-US" sz="2000" b="0">
                          <a:solidFill>
                            <a:schemeClr val="bg1"/>
                          </a:solidFill>
                          <a:latin typeface="+mj-lt"/>
                        </a:rPr>
                        <a:t>Permission</a:t>
                      </a:r>
                    </a:p>
                  </a:txBody>
                  <a:tcPr anchor="ctr">
                    <a:lnL w="6350" cap="flat" cmpd="sng" algn="ctr">
                      <a:solidFill>
                        <a:srgbClr val="243A5E"/>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ctr"/>
                      <a:r>
                        <a:rPr lang="en-US" sz="2000" b="0">
                          <a:solidFill>
                            <a:schemeClr val="bg1"/>
                          </a:solidFill>
                          <a:latin typeface="+mj-lt"/>
                        </a:rPr>
                        <a:t>Read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ctr"/>
                      <a:r>
                        <a:rPr lang="en-US" sz="2000" b="0">
                          <a:solidFill>
                            <a:schemeClr val="bg1"/>
                          </a:solidFill>
                          <a:latin typeface="+mj-lt"/>
                        </a:rPr>
                        <a:t>Collaborato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ctr"/>
                      <a:r>
                        <a:rPr lang="en-US" sz="2000" b="0">
                          <a:solidFill>
                            <a:schemeClr val="bg1"/>
                          </a:solidFill>
                          <a:latin typeface="+mj-lt"/>
                        </a:rPr>
                        <a:t>Contributo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algn="ctr"/>
                      <a:r>
                        <a:rPr lang="en-US" sz="2000" b="0">
                          <a:solidFill>
                            <a:schemeClr val="bg1"/>
                          </a:solidFill>
                          <a:latin typeface="+mj-lt"/>
                        </a:rPr>
                        <a:t>Owner</a:t>
                      </a:r>
                    </a:p>
                  </a:txBody>
                  <a:tcPr anchor="ctr">
                    <a:lnL w="6350" cap="flat" cmpd="sng" algn="ctr">
                      <a:solidFill>
                        <a:schemeClr val="bg1"/>
                      </a:solidFill>
                      <a:prstDash val="solid"/>
                      <a:round/>
                      <a:headEnd type="none" w="med" len="med"/>
                      <a:tailEnd type="none" w="med" len="med"/>
                    </a:lnL>
                    <a:lnR w="6350" cap="flat" cmpd="sng" algn="ctr">
                      <a:solidFill>
                        <a:srgbClr val="243A5E"/>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3947040199"/>
                  </a:ext>
                </a:extLst>
              </a:tr>
              <a:tr h="457200">
                <a:tc>
                  <a:txBody>
                    <a:bodyPr/>
                    <a:lstStyle/>
                    <a:p>
                      <a:r>
                        <a:rPr lang="en-US">
                          <a:solidFill>
                            <a:schemeClr val="tx1"/>
                          </a:solidFill>
                        </a:rPr>
                        <a:t>List and restore/install packag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967198"/>
                  </a:ext>
                </a:extLst>
              </a:tr>
              <a:tr h="457200">
                <a:tc>
                  <a:txBody>
                    <a:bodyPr/>
                    <a:lstStyle/>
                    <a:p>
                      <a:r>
                        <a:rPr lang="en-US">
                          <a:solidFill>
                            <a:schemeClr val="tx1"/>
                          </a:solidFill>
                        </a:rPr>
                        <a:t>Save packages from upstream sourc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082698"/>
                  </a:ext>
                </a:extLst>
              </a:tr>
              <a:tr h="457200">
                <a:tc>
                  <a:txBody>
                    <a:bodyPr/>
                    <a:lstStyle/>
                    <a:p>
                      <a:r>
                        <a:rPr lang="en-US">
                          <a:solidFill>
                            <a:schemeClr val="tx1"/>
                          </a:solidFill>
                        </a:rPr>
                        <a:t>Push packag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715000"/>
                  </a:ext>
                </a:extLst>
              </a:tr>
              <a:tr h="457200">
                <a:tc>
                  <a:txBody>
                    <a:bodyPr/>
                    <a:lstStyle/>
                    <a:p>
                      <a:r>
                        <a:rPr lang="en-US" err="1">
                          <a:solidFill>
                            <a:schemeClr val="tx1"/>
                          </a:solidFill>
                        </a:rPr>
                        <a:t>Unlist</a:t>
                      </a:r>
                      <a:r>
                        <a:rPr lang="en-US">
                          <a:solidFill>
                            <a:schemeClr val="tx1"/>
                          </a:solidFill>
                        </a:rPr>
                        <a:t>/deprecate packages</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766034"/>
                  </a:ext>
                </a:extLst>
              </a:tr>
              <a:tr h="457200">
                <a:tc>
                  <a:txBody>
                    <a:bodyPr/>
                    <a:lstStyle/>
                    <a:p>
                      <a:r>
                        <a:rPr lang="en-US">
                          <a:solidFill>
                            <a:schemeClr val="tx1"/>
                          </a:solidFill>
                        </a:rPr>
                        <a:t>Delete/unpublish package</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5085603"/>
                  </a:ext>
                </a:extLst>
              </a:tr>
              <a:tr h="457200">
                <a:tc>
                  <a:txBody>
                    <a:bodyPr/>
                    <a:lstStyle/>
                    <a:p>
                      <a:r>
                        <a:rPr lang="en-US">
                          <a:solidFill>
                            <a:schemeClr val="tx1"/>
                          </a:solidFill>
                        </a:rPr>
                        <a:t>Edit feed permission</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0989316"/>
                  </a:ext>
                </a:extLst>
              </a:tr>
              <a:tr h="457200">
                <a:tc>
                  <a:txBody>
                    <a:bodyPr/>
                    <a:lstStyle/>
                    <a:p>
                      <a:r>
                        <a:rPr lang="en-US">
                          <a:solidFill>
                            <a:schemeClr val="tx2"/>
                          </a:solidFill>
                        </a:rPr>
                        <a:t>Rename and delete feed</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a:solidFill>
                          <a:schemeClr val="tx1"/>
                        </a:solidFill>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a:solidFill>
                            <a:schemeClr val="tx1"/>
                          </a:solidFill>
                          <a:sym typeface="Wingdings" panose="05000000000000000000" pitchFamily="2" charset="2"/>
                        </a:rPr>
                        <a:t></a:t>
                      </a: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7917792"/>
                  </a:ext>
                </a:extLst>
              </a:tr>
            </a:tbl>
          </a:graphicData>
        </a:graphic>
      </p:graphicFrame>
    </p:spTree>
    <p:extLst>
      <p:ext uri="{BB962C8B-B14F-4D97-AF65-F5344CB8AC3E}">
        <p14:creationId xmlns:p14="http://schemas.microsoft.com/office/powerpoint/2010/main" val="3976891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3917F-5A7C-4F35-9776-50FE08674587}"/>
              </a:ext>
            </a:extLst>
          </p:cNvPr>
          <p:cNvSpPr>
            <a:spLocks noGrp="1"/>
          </p:cNvSpPr>
          <p:nvPr>
            <p:ph type="title"/>
          </p:nvPr>
        </p:nvSpPr>
        <p:spPr/>
        <p:txBody>
          <a:bodyPr/>
          <a:lstStyle/>
          <a:p>
            <a:r>
              <a:rPr lang="en-US"/>
              <a:t>Credentials</a:t>
            </a:r>
          </a:p>
        </p:txBody>
      </p:sp>
      <p:sp>
        <p:nvSpPr>
          <p:cNvPr id="4" name="Rectangle 3">
            <a:extLst>
              <a:ext uri="{FF2B5EF4-FFF2-40B4-BE49-F238E27FC236}">
                <a16:creationId xmlns:a16="http://schemas.microsoft.com/office/drawing/2014/main" id="{A350C712-DF90-48D7-AF99-33CA7708B8E6}"/>
              </a:ext>
            </a:extLst>
          </p:cNvPr>
          <p:cNvSpPr/>
          <p:nvPr/>
        </p:nvSpPr>
        <p:spPr>
          <a:xfrm>
            <a:off x="427038" y="1649413"/>
            <a:ext cx="5043963" cy="4646729"/>
          </a:xfrm>
          <a:prstGeom prst="rect">
            <a:avLst/>
          </a:prstGeom>
          <a:solidFill>
            <a:schemeClr val="bg1">
              <a:lumMod val="95000"/>
            </a:schemeClr>
          </a:solidFill>
          <a:ln w="19050">
            <a:solidFill>
              <a:schemeClr val="bg1">
                <a:lumMod val="95000"/>
              </a:schemeClr>
            </a:solidFill>
          </a:ln>
        </p:spPr>
        <p:txBody>
          <a:bodyPr wrap="square" lIns="182880" tIns="137160" rIns="182880" bIns="137160">
            <a:noAutofit/>
          </a:bodyPr>
          <a:lstStyle/>
          <a:p>
            <a:pPr>
              <a:spcBef>
                <a:spcPts val="1800"/>
              </a:spcBef>
            </a:pPr>
            <a:r>
              <a:rPr lang="en-US" sz="2400">
                <a:latin typeface="+mj-lt"/>
              </a:rPr>
              <a:t>Authentication is required for Azure Artifacts</a:t>
            </a:r>
          </a:p>
          <a:p>
            <a:pPr>
              <a:spcBef>
                <a:spcPts val="1800"/>
              </a:spcBef>
            </a:pPr>
            <a:r>
              <a:rPr lang="en-US" sz="2400">
                <a:latin typeface="+mj-lt"/>
              </a:rPr>
              <a:t>Transparently taken care of</a:t>
            </a:r>
            <a:br>
              <a:rPr lang="en-US" sz="2400">
                <a:latin typeface="+mj-lt"/>
              </a:rPr>
            </a:br>
            <a:r>
              <a:rPr lang="en-US" sz="2400">
                <a:latin typeface="+mj-lt"/>
              </a:rPr>
              <a:t>when logged into portal or in build tasks</a:t>
            </a:r>
          </a:p>
          <a:p>
            <a:pPr>
              <a:spcBef>
                <a:spcPts val="1800"/>
              </a:spcBef>
            </a:pPr>
            <a:r>
              <a:rPr lang="en-US" sz="2400">
                <a:latin typeface="+mj-lt"/>
              </a:rPr>
              <a:t>External package sources may require credentials: </a:t>
            </a:r>
          </a:p>
          <a:p>
            <a:pPr marL="0" lvl="2">
              <a:spcBef>
                <a:spcPts val="600"/>
              </a:spcBef>
            </a:pPr>
            <a:r>
              <a:rPr lang="en-US" sz="2200"/>
              <a:t>Create a service connection</a:t>
            </a:r>
          </a:p>
        </p:txBody>
      </p:sp>
      <p:pic>
        <p:nvPicPr>
          <p:cNvPr id="6" name="Picture 5" descr="Screenshot of webpage for adding an npm service connection">
            <a:extLst>
              <a:ext uri="{FF2B5EF4-FFF2-40B4-BE49-F238E27FC236}">
                <a16:creationId xmlns:a16="http://schemas.microsoft.com/office/drawing/2014/main" id="{C93E65B7-854C-40A9-B0E2-C208D2D64A97}"/>
              </a:ext>
            </a:extLst>
          </p:cNvPr>
          <p:cNvPicPr>
            <a:picLocks noChangeAspect="1"/>
          </p:cNvPicPr>
          <p:nvPr/>
        </p:nvPicPr>
        <p:blipFill>
          <a:blip r:embed="rId3"/>
          <a:stretch>
            <a:fillRect/>
          </a:stretch>
        </p:blipFill>
        <p:spPr>
          <a:xfrm>
            <a:off x="5613400" y="1666756"/>
            <a:ext cx="6392320" cy="4629386"/>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210391947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3: Open source software</a:t>
            </a:r>
          </a:p>
        </p:txBody>
      </p:sp>
      <p:pic>
        <p:nvPicPr>
          <p:cNvPr id="3" name="Picture 2" descr="Icon of three squares and a cloud">
            <a:extLst>
              <a:ext uri="{FF2B5EF4-FFF2-40B4-BE49-F238E27FC236}">
                <a16:creationId xmlns:a16="http://schemas.microsoft.com/office/drawing/2014/main" id="{E8D55B3C-B03B-43C6-94C9-0A65D2B8E6A5}"/>
              </a:ext>
            </a:extLst>
          </p:cNvPr>
          <p:cNvPicPr>
            <a:picLocks noChangeAspect="1"/>
          </p:cNvPicPr>
          <p:nvPr/>
        </p:nvPicPr>
        <p:blipFill>
          <a:blip r:embed="rId2"/>
          <a:stretch>
            <a:fillRect/>
          </a:stretch>
        </p:blipFill>
        <p:spPr>
          <a:xfrm>
            <a:off x="10382883" y="2984500"/>
            <a:ext cx="1033784" cy="1033782"/>
          </a:xfrm>
          <a:prstGeom prst="rect">
            <a:avLst/>
          </a:prstGeom>
        </p:spPr>
      </p:pic>
    </p:spTree>
    <p:extLst>
      <p:ext uri="{BB962C8B-B14F-4D97-AF65-F5344CB8AC3E}">
        <p14:creationId xmlns:p14="http://schemas.microsoft.com/office/powerpoint/2010/main" val="10244140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9844D-7543-4B89-A10F-D42A46F7CFF0}"/>
              </a:ext>
            </a:extLst>
          </p:cNvPr>
          <p:cNvSpPr>
            <a:spLocks noGrp="1"/>
          </p:cNvSpPr>
          <p:nvPr>
            <p:ph type="title"/>
          </p:nvPr>
        </p:nvSpPr>
        <p:spPr>
          <a:xfrm>
            <a:off x="465138" y="632779"/>
            <a:ext cx="11533187" cy="411162"/>
          </a:xfrm>
        </p:spPr>
        <p:txBody>
          <a:bodyPr/>
          <a:lstStyle/>
          <a:p>
            <a:r>
              <a:rPr lang="en-US"/>
              <a:t>How software is built</a:t>
            </a:r>
          </a:p>
        </p:txBody>
      </p:sp>
      <p:pic>
        <p:nvPicPr>
          <p:cNvPr id="13" name="Picture 12" descr="Icon of a webpage showing six squares">
            <a:extLst>
              <a:ext uri="{FF2B5EF4-FFF2-40B4-BE49-F238E27FC236}">
                <a16:creationId xmlns:a16="http://schemas.microsoft.com/office/drawing/2014/main" id="{CD9CE989-9F04-4734-8128-89890BAA152B}"/>
              </a:ext>
            </a:extLst>
          </p:cNvPr>
          <p:cNvPicPr>
            <a:picLocks noChangeAspect="1"/>
          </p:cNvPicPr>
          <p:nvPr/>
        </p:nvPicPr>
        <p:blipFill>
          <a:blip r:embed="rId2"/>
          <a:stretch>
            <a:fillRect/>
          </a:stretch>
        </p:blipFill>
        <p:spPr>
          <a:xfrm>
            <a:off x="465138" y="1687442"/>
            <a:ext cx="952500" cy="952500"/>
          </a:xfrm>
          <a:prstGeom prst="rect">
            <a:avLst/>
          </a:prstGeom>
        </p:spPr>
      </p:pic>
      <p:sp>
        <p:nvSpPr>
          <p:cNvPr id="44" name="Rectangle 43">
            <a:extLst>
              <a:ext uri="{FF2B5EF4-FFF2-40B4-BE49-F238E27FC236}">
                <a16:creationId xmlns:a16="http://schemas.microsoft.com/office/drawing/2014/main" id="{A6932B66-3911-43CD-BB70-13C6E830C9B9}"/>
              </a:ext>
            </a:extLst>
          </p:cNvPr>
          <p:cNvSpPr/>
          <p:nvPr/>
        </p:nvSpPr>
        <p:spPr>
          <a:xfrm>
            <a:off x="1689099" y="1687442"/>
            <a:ext cx="10320339" cy="1677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a:solidFill>
                  <a:schemeClr val="tx1"/>
                </a:solidFill>
                <a:latin typeface="+mj-lt"/>
              </a:rPr>
              <a:t>Software based for 80% on components:</a:t>
            </a:r>
          </a:p>
          <a:p>
            <a:pPr>
              <a:spcBef>
                <a:spcPts val="600"/>
              </a:spcBef>
              <a:spcAft>
                <a:spcPts val="600"/>
              </a:spcAft>
            </a:pPr>
            <a:r>
              <a:rPr lang="en-US" sz="2000">
                <a:solidFill>
                  <a:schemeClr val="tx1"/>
                </a:solidFill>
              </a:rPr>
              <a:t>Internal teams</a:t>
            </a:r>
          </a:p>
          <a:p>
            <a:pPr>
              <a:spcBef>
                <a:spcPts val="600"/>
              </a:spcBef>
              <a:spcAft>
                <a:spcPts val="600"/>
              </a:spcAft>
            </a:pPr>
            <a:r>
              <a:rPr lang="en-US" sz="2000">
                <a:solidFill>
                  <a:schemeClr val="tx1"/>
                </a:solidFill>
              </a:rPr>
              <a:t>Commercial 3</a:t>
            </a:r>
            <a:r>
              <a:rPr lang="en-US" sz="2000" baseline="30000">
                <a:solidFill>
                  <a:schemeClr val="tx1"/>
                </a:solidFill>
              </a:rPr>
              <a:t>rd</a:t>
            </a:r>
            <a:r>
              <a:rPr lang="en-US" sz="2000">
                <a:solidFill>
                  <a:schemeClr val="tx1"/>
                </a:solidFill>
              </a:rPr>
              <a:t> party</a:t>
            </a:r>
          </a:p>
          <a:p>
            <a:pPr>
              <a:spcBef>
                <a:spcPts val="600"/>
              </a:spcBef>
              <a:spcAft>
                <a:spcPts val="600"/>
              </a:spcAft>
            </a:pPr>
            <a:r>
              <a:rPr lang="en-US" sz="2000">
                <a:solidFill>
                  <a:schemeClr val="tx1"/>
                </a:solidFill>
              </a:rPr>
              <a:t>Open-source community</a:t>
            </a:r>
          </a:p>
        </p:txBody>
      </p:sp>
      <p:cxnSp>
        <p:nvCxnSpPr>
          <p:cNvPr id="39" name="Straight Connector 38">
            <a:extLst>
              <a:ext uri="{FF2B5EF4-FFF2-40B4-BE49-F238E27FC236}">
                <a16:creationId xmlns:a16="http://schemas.microsoft.com/office/drawing/2014/main" id="{EEF31729-A47D-4460-B5FF-28C9E0DE0B6D}"/>
              </a:ext>
              <a:ext uri="{C183D7F6-B498-43B3-948B-1728B52AA6E4}">
                <adec:decorative xmlns:adec="http://schemas.microsoft.com/office/drawing/2017/decorative" val="1"/>
              </a:ext>
            </a:extLst>
          </p:cNvPr>
          <p:cNvCxnSpPr>
            <a:cxnSpLocks/>
          </p:cNvCxnSpPr>
          <p:nvPr/>
        </p:nvCxnSpPr>
        <p:spPr>
          <a:xfrm>
            <a:off x="1689100" y="3847803"/>
            <a:ext cx="103203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descr="Icon of three squares and a cloud">
            <a:extLst>
              <a:ext uri="{FF2B5EF4-FFF2-40B4-BE49-F238E27FC236}">
                <a16:creationId xmlns:a16="http://schemas.microsoft.com/office/drawing/2014/main" id="{B00A6087-8C37-46CA-ADC9-DF73D8B175F3}"/>
              </a:ext>
            </a:extLst>
          </p:cNvPr>
          <p:cNvPicPr>
            <a:picLocks noChangeAspect="1"/>
          </p:cNvPicPr>
          <p:nvPr/>
        </p:nvPicPr>
        <p:blipFill>
          <a:blip r:embed="rId3"/>
          <a:stretch>
            <a:fillRect/>
          </a:stretch>
        </p:blipFill>
        <p:spPr>
          <a:xfrm>
            <a:off x="465138" y="4235181"/>
            <a:ext cx="952500" cy="952500"/>
          </a:xfrm>
          <a:prstGeom prst="rect">
            <a:avLst/>
          </a:prstGeom>
        </p:spPr>
      </p:pic>
      <p:sp>
        <p:nvSpPr>
          <p:cNvPr id="66" name="Rectangle 65">
            <a:extLst>
              <a:ext uri="{FF2B5EF4-FFF2-40B4-BE49-F238E27FC236}">
                <a16:creationId xmlns:a16="http://schemas.microsoft.com/office/drawing/2014/main" id="{AD3F0406-9A7B-4F25-8A95-D14D93FCE9ED}"/>
              </a:ext>
            </a:extLst>
          </p:cNvPr>
          <p:cNvSpPr/>
          <p:nvPr/>
        </p:nvSpPr>
        <p:spPr>
          <a:xfrm>
            <a:off x="1689099" y="4330782"/>
            <a:ext cx="10320339" cy="761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nSpc>
                <a:spcPct val="107000"/>
              </a:lnSpc>
              <a:spcAft>
                <a:spcPts val="816"/>
              </a:spcAft>
            </a:pPr>
            <a:r>
              <a:rPr lang="en-US" sz="2400">
                <a:solidFill>
                  <a:schemeClr val="tx1"/>
                </a:solidFill>
              </a:rPr>
              <a:t>Almost all software nowadays uses open-source software is some way, shape or form</a:t>
            </a:r>
          </a:p>
        </p:txBody>
      </p:sp>
    </p:spTree>
    <p:extLst>
      <p:ext uri="{BB962C8B-B14F-4D97-AF65-F5344CB8AC3E}">
        <p14:creationId xmlns:p14="http://schemas.microsoft.com/office/powerpoint/2010/main" val="23344850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112AF-7AE2-4197-9F38-40C40BC380CE}"/>
              </a:ext>
            </a:extLst>
          </p:cNvPr>
          <p:cNvSpPr>
            <a:spLocks noGrp="1"/>
          </p:cNvSpPr>
          <p:nvPr>
            <p:ph type="title"/>
          </p:nvPr>
        </p:nvSpPr>
        <p:spPr>
          <a:xfrm>
            <a:off x="465139" y="3086893"/>
            <a:ext cx="3281362" cy="820738"/>
          </a:xfrm>
        </p:spPr>
        <p:txBody>
          <a:bodyPr anchor="ctr"/>
          <a:lstStyle/>
          <a:p>
            <a:r>
              <a:rPr lang="en-US" sz="3200"/>
              <a:t>What is open-source software?</a:t>
            </a:r>
          </a:p>
        </p:txBody>
      </p:sp>
      <p:pic>
        <p:nvPicPr>
          <p:cNvPr id="16" name="Picture 15">
            <a:extLst>
              <a:ext uri="{FF2B5EF4-FFF2-40B4-BE49-F238E27FC236}">
                <a16:creationId xmlns:a16="http://schemas.microsoft.com/office/drawing/2014/main" id="{698497F6-2819-4BA1-96FC-64D374D0C8E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056997" y="622300"/>
            <a:ext cx="5635752" cy="5635752"/>
          </a:xfrm>
          <a:prstGeom prst="rect">
            <a:avLst/>
          </a:prstGeom>
        </p:spPr>
      </p:pic>
      <p:sp>
        <p:nvSpPr>
          <p:cNvPr id="13" name="Rectangle 12">
            <a:extLst>
              <a:ext uri="{FF2B5EF4-FFF2-40B4-BE49-F238E27FC236}">
                <a16:creationId xmlns:a16="http://schemas.microsoft.com/office/drawing/2014/main" id="{632D7E5F-4850-41B8-9B31-85418745F29B}"/>
              </a:ext>
            </a:extLst>
          </p:cNvPr>
          <p:cNvSpPr/>
          <p:nvPr/>
        </p:nvSpPr>
        <p:spPr>
          <a:xfrm>
            <a:off x="6607176" y="2116583"/>
            <a:ext cx="4556124" cy="3323987"/>
          </a:xfrm>
          <a:prstGeom prst="rect">
            <a:avLst/>
          </a:prstGeom>
        </p:spPr>
        <p:txBody>
          <a:bodyPr wrap="square" lIns="0" tIns="0" rIns="0" bIns="0">
            <a:spAutoFit/>
          </a:bodyPr>
          <a:lstStyle/>
          <a:p>
            <a:pPr algn="ctr"/>
            <a:r>
              <a:rPr lang="en-US" sz="2400" i="1">
                <a:latin typeface="+mj-lt"/>
              </a:rPr>
              <a:t>Open-source software (OSS) is a type of computer software in which source code is released under a license in which the copyright holder grants users the rights to study, change, and distribute the software to</a:t>
            </a:r>
            <a:br>
              <a:rPr lang="en-US" sz="2400" i="1">
                <a:latin typeface="+mj-lt"/>
              </a:rPr>
            </a:br>
            <a:r>
              <a:rPr lang="en-US" sz="2400" i="1">
                <a:latin typeface="+mj-lt"/>
              </a:rPr>
              <a:t>anyone and for</a:t>
            </a:r>
            <a:br>
              <a:rPr lang="en-US" sz="2400" i="1">
                <a:latin typeface="+mj-lt"/>
              </a:rPr>
            </a:br>
            <a:r>
              <a:rPr lang="en-US" sz="2400" i="1">
                <a:latin typeface="+mj-lt"/>
              </a:rPr>
              <a:t>any purpose</a:t>
            </a:r>
          </a:p>
        </p:txBody>
      </p:sp>
      <p:sp>
        <p:nvSpPr>
          <p:cNvPr id="4" name="Rectangle 3">
            <a:extLst>
              <a:ext uri="{FF2B5EF4-FFF2-40B4-BE49-F238E27FC236}">
                <a16:creationId xmlns:a16="http://schemas.microsoft.com/office/drawing/2014/main" id="{5187828C-4B03-43E6-BA79-BC497BBC890F}"/>
              </a:ext>
            </a:extLst>
          </p:cNvPr>
          <p:cNvSpPr/>
          <p:nvPr/>
        </p:nvSpPr>
        <p:spPr>
          <a:xfrm>
            <a:off x="428943" y="6360597"/>
            <a:ext cx="6391881" cy="184666"/>
          </a:xfrm>
          <a:prstGeom prst="rect">
            <a:avLst/>
          </a:prstGeom>
        </p:spPr>
        <p:txBody>
          <a:bodyPr wrap="square" lIns="0" tIns="0" rIns="0" bIns="0">
            <a:spAutoFit/>
          </a:bodyPr>
          <a:lstStyle/>
          <a:p>
            <a:r>
              <a:rPr lang="en-US" sz="1200" u="sng">
                <a:solidFill>
                  <a:srgbClr val="000000"/>
                </a:solidFill>
                <a:hlinkClick r:id="rId3"/>
              </a:rPr>
              <a:t>https://en.wikipedia.org/wiki/Open-source_software</a:t>
            </a:r>
            <a:r>
              <a:rPr lang="en-US" sz="1200" u="sng">
                <a:solidFill>
                  <a:srgbClr val="000000"/>
                </a:solidFill>
              </a:rPr>
              <a:t> </a:t>
            </a:r>
            <a:endParaRPr lang="en-US" sz="1200">
              <a:solidFill>
                <a:srgbClr val="000000"/>
              </a:solidFill>
            </a:endParaRPr>
          </a:p>
        </p:txBody>
      </p:sp>
    </p:spTree>
    <p:extLst>
      <p:ext uri="{BB962C8B-B14F-4D97-AF65-F5344CB8AC3E}">
        <p14:creationId xmlns:p14="http://schemas.microsoft.com/office/powerpoint/2010/main" val="5984967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9A83E-5AFF-4387-92E5-0F955CEA14F7}"/>
              </a:ext>
            </a:extLst>
          </p:cNvPr>
          <p:cNvSpPr>
            <a:spLocks noGrp="1"/>
          </p:cNvSpPr>
          <p:nvPr>
            <p:ph type="title"/>
          </p:nvPr>
        </p:nvSpPr>
        <p:spPr>
          <a:xfrm>
            <a:off x="465138" y="632779"/>
            <a:ext cx="11533187" cy="411162"/>
          </a:xfrm>
        </p:spPr>
        <p:txBody>
          <a:bodyPr/>
          <a:lstStyle/>
          <a:p>
            <a:r>
              <a:rPr lang="en-US"/>
              <a:t>Challenge to corporates</a:t>
            </a:r>
          </a:p>
        </p:txBody>
      </p:sp>
      <p:pic>
        <p:nvPicPr>
          <p:cNvPr id="40" name="Picture 39" descr="Icon of tools">
            <a:extLst>
              <a:ext uri="{FF2B5EF4-FFF2-40B4-BE49-F238E27FC236}">
                <a16:creationId xmlns:a16="http://schemas.microsoft.com/office/drawing/2014/main" id="{2B4CB5E3-E61C-4819-8148-3FD58770EFC6}"/>
              </a:ext>
            </a:extLst>
          </p:cNvPr>
          <p:cNvPicPr>
            <a:picLocks noChangeAspect="1"/>
          </p:cNvPicPr>
          <p:nvPr/>
        </p:nvPicPr>
        <p:blipFill>
          <a:blip r:embed="rId3"/>
          <a:stretch>
            <a:fillRect/>
          </a:stretch>
        </p:blipFill>
        <p:spPr>
          <a:xfrm>
            <a:off x="431803" y="1184522"/>
            <a:ext cx="783336" cy="784860"/>
          </a:xfrm>
          <a:prstGeom prst="rect">
            <a:avLst/>
          </a:prstGeom>
        </p:spPr>
      </p:pic>
      <p:sp>
        <p:nvSpPr>
          <p:cNvPr id="5" name="Rectangle 4">
            <a:extLst>
              <a:ext uri="{FF2B5EF4-FFF2-40B4-BE49-F238E27FC236}">
                <a16:creationId xmlns:a16="http://schemas.microsoft.com/office/drawing/2014/main" id="{E5F7B95A-E382-451C-9D99-7C949FF25D44}"/>
              </a:ext>
            </a:extLst>
          </p:cNvPr>
          <p:cNvSpPr>
            <a:spLocks/>
          </p:cNvSpPr>
          <p:nvPr/>
        </p:nvSpPr>
        <p:spPr>
          <a:xfrm>
            <a:off x="1432193" y="1271740"/>
            <a:ext cx="10577246" cy="610424"/>
          </a:xfrm>
          <a:prstGeom prst="rect">
            <a:avLst/>
          </a:prstGeom>
        </p:spPr>
        <p:txBody>
          <a:bodyPr wrap="square" lIns="0" tIns="0" rIns="0" bIns="0" anchor="ctr">
            <a:spAutoFit/>
          </a:bodyPr>
          <a:lstStyle/>
          <a:p>
            <a:pPr>
              <a:spcBef>
                <a:spcPts val="200"/>
              </a:spcBef>
            </a:pPr>
            <a:r>
              <a:rPr lang="en-US" sz="2000">
                <a:latin typeface="+mj-lt"/>
              </a:rPr>
              <a:t>Be of low quality:</a:t>
            </a:r>
          </a:p>
          <a:p>
            <a:pPr marL="0" lvl="1">
              <a:spcBef>
                <a:spcPts val="200"/>
              </a:spcBef>
            </a:pPr>
            <a:r>
              <a:rPr lang="en-US"/>
              <a:t>This would impact maintainability, reliability and performance of the overall solution</a:t>
            </a:r>
          </a:p>
        </p:txBody>
      </p:sp>
      <p:cxnSp>
        <p:nvCxnSpPr>
          <p:cNvPr id="18" name="Straight Connector 17">
            <a:extLst>
              <a:ext uri="{FF2B5EF4-FFF2-40B4-BE49-F238E27FC236}">
                <a16:creationId xmlns:a16="http://schemas.microsoft.com/office/drawing/2014/main" id="{21039F9E-D4AC-40CC-8BCF-6776A27D5335}"/>
              </a:ext>
              <a:ext uri="{C183D7F6-B498-43B3-948B-1728B52AA6E4}">
                <adec:decorative xmlns:adec="http://schemas.microsoft.com/office/drawing/2017/decorative" val="1"/>
              </a:ext>
            </a:extLst>
          </p:cNvPr>
          <p:cNvCxnSpPr>
            <a:cxnSpLocks/>
          </p:cNvCxnSpPr>
          <p:nvPr/>
        </p:nvCxnSpPr>
        <p:spPr>
          <a:xfrm>
            <a:off x="1473200" y="2110556"/>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Icon of a bar chart with circles on the bottom">
            <a:extLst>
              <a:ext uri="{FF2B5EF4-FFF2-40B4-BE49-F238E27FC236}">
                <a16:creationId xmlns:a16="http://schemas.microsoft.com/office/drawing/2014/main" id="{43B22573-61B9-433B-8102-80F113C55DC0}"/>
              </a:ext>
            </a:extLst>
          </p:cNvPr>
          <p:cNvPicPr>
            <a:picLocks noChangeAspect="1"/>
          </p:cNvPicPr>
          <p:nvPr/>
        </p:nvPicPr>
        <p:blipFill>
          <a:blip r:embed="rId4"/>
          <a:stretch>
            <a:fillRect/>
          </a:stretch>
        </p:blipFill>
        <p:spPr>
          <a:xfrm>
            <a:off x="431803" y="2303773"/>
            <a:ext cx="784860" cy="786384"/>
          </a:xfrm>
          <a:prstGeom prst="rect">
            <a:avLst/>
          </a:prstGeom>
        </p:spPr>
      </p:pic>
      <p:sp>
        <p:nvSpPr>
          <p:cNvPr id="6" name="Rectangle 5">
            <a:extLst>
              <a:ext uri="{FF2B5EF4-FFF2-40B4-BE49-F238E27FC236}">
                <a16:creationId xmlns:a16="http://schemas.microsoft.com/office/drawing/2014/main" id="{3C5F2AF5-E8F7-45BC-BF9D-59CA72BCEEED}"/>
              </a:ext>
            </a:extLst>
          </p:cNvPr>
          <p:cNvSpPr>
            <a:spLocks/>
          </p:cNvSpPr>
          <p:nvPr/>
        </p:nvSpPr>
        <p:spPr>
          <a:xfrm>
            <a:off x="1432193" y="2251730"/>
            <a:ext cx="10577246" cy="887422"/>
          </a:xfrm>
          <a:prstGeom prst="rect">
            <a:avLst/>
          </a:prstGeom>
        </p:spPr>
        <p:txBody>
          <a:bodyPr wrap="square" lIns="0" tIns="0" rIns="0" bIns="0" anchor="ctr">
            <a:spAutoFit/>
          </a:bodyPr>
          <a:lstStyle/>
          <a:p>
            <a:pPr>
              <a:spcBef>
                <a:spcPts val="200"/>
              </a:spcBef>
            </a:pPr>
            <a:r>
              <a:rPr lang="en-US" sz="2000">
                <a:latin typeface="+mj-lt"/>
              </a:rPr>
              <a:t>Have no active maintenance:</a:t>
            </a:r>
          </a:p>
          <a:p>
            <a:pPr marL="0" lvl="1">
              <a:spcBef>
                <a:spcPts val="200"/>
              </a:spcBef>
            </a:pPr>
            <a:r>
              <a:rPr lang="en-US"/>
              <a:t>The code would not evolve over time or be alterable without making a copy of the source code, effectively forking away from the origin</a:t>
            </a:r>
          </a:p>
        </p:txBody>
      </p:sp>
      <p:cxnSp>
        <p:nvCxnSpPr>
          <p:cNvPr id="20" name="Straight Connector 19">
            <a:extLst>
              <a:ext uri="{FF2B5EF4-FFF2-40B4-BE49-F238E27FC236}">
                <a16:creationId xmlns:a16="http://schemas.microsoft.com/office/drawing/2014/main" id="{D95C6E39-01D1-46AB-A167-C656818E4BD6}"/>
              </a:ext>
              <a:ext uri="{C183D7F6-B498-43B3-948B-1728B52AA6E4}">
                <adec:decorative xmlns:adec="http://schemas.microsoft.com/office/drawing/2017/decorative" val="1"/>
              </a:ext>
            </a:extLst>
          </p:cNvPr>
          <p:cNvCxnSpPr>
            <a:cxnSpLocks/>
          </p:cNvCxnSpPr>
          <p:nvPr/>
        </p:nvCxnSpPr>
        <p:spPr>
          <a:xfrm>
            <a:off x="1473200" y="3280326"/>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3" name="Picture 42" descr="Icon of three dots and outward pointing chevrons on left and right">
            <a:extLst>
              <a:ext uri="{FF2B5EF4-FFF2-40B4-BE49-F238E27FC236}">
                <a16:creationId xmlns:a16="http://schemas.microsoft.com/office/drawing/2014/main" id="{0A516DB2-BD79-40E3-9312-6018B5DFF005}"/>
              </a:ext>
            </a:extLst>
          </p:cNvPr>
          <p:cNvPicPr>
            <a:picLocks noChangeAspect="1"/>
          </p:cNvPicPr>
          <p:nvPr/>
        </p:nvPicPr>
        <p:blipFill>
          <a:blip r:embed="rId5"/>
          <a:stretch>
            <a:fillRect/>
          </a:stretch>
        </p:blipFill>
        <p:spPr>
          <a:xfrm>
            <a:off x="431803" y="3473543"/>
            <a:ext cx="783336" cy="783336"/>
          </a:xfrm>
          <a:prstGeom prst="rect">
            <a:avLst/>
          </a:prstGeom>
        </p:spPr>
      </p:pic>
      <p:sp>
        <p:nvSpPr>
          <p:cNvPr id="7" name="Rectangle 6">
            <a:extLst>
              <a:ext uri="{FF2B5EF4-FFF2-40B4-BE49-F238E27FC236}">
                <a16:creationId xmlns:a16="http://schemas.microsoft.com/office/drawing/2014/main" id="{65DC0EC4-A80B-4D6F-8CAA-1A5F3AC8C3E5}"/>
              </a:ext>
            </a:extLst>
          </p:cNvPr>
          <p:cNvSpPr>
            <a:spLocks/>
          </p:cNvSpPr>
          <p:nvPr/>
        </p:nvSpPr>
        <p:spPr>
          <a:xfrm>
            <a:off x="1432193" y="3421500"/>
            <a:ext cx="10577246" cy="887422"/>
          </a:xfrm>
          <a:prstGeom prst="rect">
            <a:avLst/>
          </a:prstGeom>
        </p:spPr>
        <p:txBody>
          <a:bodyPr wrap="square" lIns="0" tIns="0" rIns="0" bIns="0" anchor="ctr">
            <a:spAutoFit/>
          </a:bodyPr>
          <a:lstStyle/>
          <a:p>
            <a:pPr>
              <a:spcBef>
                <a:spcPts val="200"/>
              </a:spcBef>
            </a:pPr>
            <a:r>
              <a:rPr lang="en-US" sz="2000">
                <a:latin typeface="+mj-lt"/>
              </a:rPr>
              <a:t>Contain malicious code:</a:t>
            </a:r>
          </a:p>
          <a:p>
            <a:pPr marL="0" lvl="1">
              <a:spcBef>
                <a:spcPts val="200"/>
              </a:spcBef>
            </a:pPr>
            <a:r>
              <a:rPr lang="en-US"/>
              <a:t>The entire system that includes and uses the code will be compromised. Potentially the entire company’s IT and infrastructure is affected</a:t>
            </a:r>
          </a:p>
        </p:txBody>
      </p:sp>
      <p:cxnSp>
        <p:nvCxnSpPr>
          <p:cNvPr id="21" name="Straight Connector 20">
            <a:extLst>
              <a:ext uri="{FF2B5EF4-FFF2-40B4-BE49-F238E27FC236}">
                <a16:creationId xmlns:a16="http://schemas.microsoft.com/office/drawing/2014/main" id="{2C7EB4D8-CA92-41E8-8CE3-3AB4A9D88BDF}"/>
              </a:ext>
              <a:ext uri="{C183D7F6-B498-43B3-948B-1728B52AA6E4}">
                <adec:decorative xmlns:adec="http://schemas.microsoft.com/office/drawing/2017/decorative" val="1"/>
              </a:ext>
            </a:extLst>
          </p:cNvPr>
          <p:cNvCxnSpPr>
            <a:cxnSpLocks/>
          </p:cNvCxnSpPr>
          <p:nvPr/>
        </p:nvCxnSpPr>
        <p:spPr>
          <a:xfrm>
            <a:off x="1473200" y="4450096"/>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6" name="Picture 45" descr="Icon of coding brackets">
            <a:extLst>
              <a:ext uri="{FF2B5EF4-FFF2-40B4-BE49-F238E27FC236}">
                <a16:creationId xmlns:a16="http://schemas.microsoft.com/office/drawing/2014/main" id="{8BF0C6D0-8BB3-40C1-978E-65007C224951}"/>
              </a:ext>
            </a:extLst>
          </p:cNvPr>
          <p:cNvPicPr>
            <a:picLocks noChangeAspect="1"/>
          </p:cNvPicPr>
          <p:nvPr/>
        </p:nvPicPr>
        <p:blipFill>
          <a:blip r:embed="rId6"/>
          <a:stretch>
            <a:fillRect/>
          </a:stretch>
        </p:blipFill>
        <p:spPr>
          <a:xfrm>
            <a:off x="431803" y="4642551"/>
            <a:ext cx="783336" cy="784860"/>
          </a:xfrm>
          <a:prstGeom prst="rect">
            <a:avLst/>
          </a:prstGeom>
        </p:spPr>
      </p:pic>
      <p:sp>
        <p:nvSpPr>
          <p:cNvPr id="8" name="Rectangle 7">
            <a:extLst>
              <a:ext uri="{FF2B5EF4-FFF2-40B4-BE49-F238E27FC236}">
                <a16:creationId xmlns:a16="http://schemas.microsoft.com/office/drawing/2014/main" id="{EFB2E42B-54CC-421B-93D2-35157FE21B23}"/>
              </a:ext>
            </a:extLst>
          </p:cNvPr>
          <p:cNvSpPr>
            <a:spLocks/>
          </p:cNvSpPr>
          <p:nvPr/>
        </p:nvSpPr>
        <p:spPr>
          <a:xfrm>
            <a:off x="1432193" y="4591270"/>
            <a:ext cx="10577246" cy="887422"/>
          </a:xfrm>
          <a:prstGeom prst="rect">
            <a:avLst/>
          </a:prstGeom>
        </p:spPr>
        <p:txBody>
          <a:bodyPr wrap="square" lIns="0" tIns="0" rIns="0" bIns="0" anchor="ctr">
            <a:spAutoFit/>
          </a:bodyPr>
          <a:lstStyle/>
          <a:p>
            <a:pPr>
              <a:spcBef>
                <a:spcPts val="200"/>
              </a:spcBef>
            </a:pPr>
            <a:r>
              <a:rPr lang="en-US" sz="2000">
                <a:latin typeface="+mj-lt"/>
              </a:rPr>
              <a:t>Have security vulnerabilities:</a:t>
            </a:r>
          </a:p>
          <a:p>
            <a:pPr marL="0" lvl="1">
              <a:spcBef>
                <a:spcPts val="200"/>
              </a:spcBef>
            </a:pPr>
            <a:r>
              <a:rPr lang="en-US"/>
              <a:t>The security of a software system is as good as its weakest part. Using source code with vulnerabilities makes the entire system susceptible to attack by hackers and misuse</a:t>
            </a:r>
          </a:p>
        </p:txBody>
      </p:sp>
      <p:cxnSp>
        <p:nvCxnSpPr>
          <p:cNvPr id="22" name="Straight Connector 21">
            <a:extLst>
              <a:ext uri="{FF2B5EF4-FFF2-40B4-BE49-F238E27FC236}">
                <a16:creationId xmlns:a16="http://schemas.microsoft.com/office/drawing/2014/main" id="{FBB9869A-0F53-4528-9DDA-A5BABDCF98A0}"/>
              </a:ext>
              <a:ext uri="{C183D7F6-B498-43B3-948B-1728B52AA6E4}">
                <adec:decorative xmlns:adec="http://schemas.microsoft.com/office/drawing/2017/decorative" val="1"/>
              </a:ext>
            </a:extLst>
          </p:cNvPr>
          <p:cNvCxnSpPr>
            <a:cxnSpLocks/>
          </p:cNvCxnSpPr>
          <p:nvPr/>
        </p:nvCxnSpPr>
        <p:spPr>
          <a:xfrm>
            <a:off x="1473200" y="5619866"/>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descr="Icon of a security lock">
            <a:extLst>
              <a:ext uri="{FF2B5EF4-FFF2-40B4-BE49-F238E27FC236}">
                <a16:creationId xmlns:a16="http://schemas.microsoft.com/office/drawing/2014/main" id="{CB660C30-7C86-4153-96A9-8B51A38A045A}"/>
              </a:ext>
            </a:extLst>
          </p:cNvPr>
          <p:cNvPicPr>
            <a:picLocks noChangeAspect="1"/>
          </p:cNvPicPr>
          <p:nvPr/>
        </p:nvPicPr>
        <p:blipFill>
          <a:blip r:embed="rId7"/>
          <a:stretch>
            <a:fillRect/>
          </a:stretch>
        </p:blipFill>
        <p:spPr>
          <a:xfrm>
            <a:off x="431803" y="5761038"/>
            <a:ext cx="783336" cy="784860"/>
          </a:xfrm>
          <a:prstGeom prst="rect">
            <a:avLst/>
          </a:prstGeom>
        </p:spPr>
      </p:pic>
      <p:sp>
        <p:nvSpPr>
          <p:cNvPr id="4" name="Rectangle 3">
            <a:extLst>
              <a:ext uri="{FF2B5EF4-FFF2-40B4-BE49-F238E27FC236}">
                <a16:creationId xmlns:a16="http://schemas.microsoft.com/office/drawing/2014/main" id="{A234402E-FD7C-4242-85EA-6ACAE732E2FD}"/>
              </a:ext>
            </a:extLst>
          </p:cNvPr>
          <p:cNvSpPr>
            <a:spLocks/>
          </p:cNvSpPr>
          <p:nvPr/>
        </p:nvSpPr>
        <p:spPr>
          <a:xfrm>
            <a:off x="1432193" y="5848256"/>
            <a:ext cx="10577246" cy="610424"/>
          </a:xfrm>
          <a:prstGeom prst="rect">
            <a:avLst/>
          </a:prstGeom>
        </p:spPr>
        <p:txBody>
          <a:bodyPr wrap="square" lIns="0" tIns="0" rIns="0" bIns="0" anchor="ctr">
            <a:spAutoFit/>
          </a:bodyPr>
          <a:lstStyle/>
          <a:p>
            <a:pPr>
              <a:spcBef>
                <a:spcPts val="200"/>
              </a:spcBef>
            </a:pPr>
            <a:r>
              <a:rPr lang="en-US" sz="2000" b="1">
                <a:latin typeface="+mj-lt"/>
              </a:rPr>
              <a:t>Have </a:t>
            </a:r>
            <a:r>
              <a:rPr lang="en-US" sz="2000">
                <a:latin typeface="+mj-lt"/>
              </a:rPr>
              <a:t>unfavorable</a:t>
            </a:r>
            <a:r>
              <a:rPr lang="en-US" sz="2000" b="1">
                <a:latin typeface="+mj-lt"/>
              </a:rPr>
              <a:t> licensing restrictions:</a:t>
            </a:r>
            <a:endParaRPr lang="en-US" sz="2000">
              <a:latin typeface="+mj-lt"/>
            </a:endParaRPr>
          </a:p>
          <a:p>
            <a:pPr marL="0" lvl="1">
              <a:spcBef>
                <a:spcPts val="200"/>
              </a:spcBef>
            </a:pPr>
            <a:r>
              <a:rPr lang="en-US"/>
              <a:t>The effect of a license can affect the entire solution that uses the open-source software</a:t>
            </a:r>
          </a:p>
        </p:txBody>
      </p:sp>
    </p:spTree>
    <p:extLst>
      <p:ext uri="{BB962C8B-B14F-4D97-AF65-F5344CB8AC3E}">
        <p14:creationId xmlns:p14="http://schemas.microsoft.com/office/powerpoint/2010/main" val="39813965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2E1E9-142E-49B2-A65B-46D36A572165}"/>
              </a:ext>
            </a:extLst>
          </p:cNvPr>
          <p:cNvSpPr>
            <a:spLocks noGrp="1"/>
          </p:cNvSpPr>
          <p:nvPr>
            <p:ph type="title"/>
          </p:nvPr>
        </p:nvSpPr>
        <p:spPr/>
        <p:txBody>
          <a:bodyPr/>
          <a:lstStyle/>
          <a:p>
            <a:r>
              <a:rPr lang="en-US"/>
              <a:t>Licenses and vulnerabilities</a:t>
            </a:r>
          </a:p>
        </p:txBody>
      </p:sp>
      <p:sp>
        <p:nvSpPr>
          <p:cNvPr id="3" name="Rectangle 2">
            <a:extLst>
              <a:ext uri="{FF2B5EF4-FFF2-40B4-BE49-F238E27FC236}">
                <a16:creationId xmlns:a16="http://schemas.microsoft.com/office/drawing/2014/main" id="{32ED5412-A196-4F91-BAF1-62726A9B073C}"/>
              </a:ext>
            </a:extLst>
          </p:cNvPr>
          <p:cNvSpPr/>
          <p:nvPr/>
        </p:nvSpPr>
        <p:spPr>
          <a:xfrm>
            <a:off x="466344" y="1188720"/>
            <a:ext cx="11543094" cy="369332"/>
          </a:xfrm>
          <a:prstGeom prst="rect">
            <a:avLst/>
          </a:prstGeom>
        </p:spPr>
        <p:txBody>
          <a:bodyPr wrap="square" lIns="0" tIns="0" rIns="0" bIns="0">
            <a:spAutoFit/>
          </a:bodyPr>
          <a:lstStyle/>
          <a:p>
            <a:pPr lvl="0">
              <a:defRPr/>
            </a:pPr>
            <a:r>
              <a:rPr lang="en-US" sz="2400">
                <a:latin typeface="+mj-lt"/>
              </a:rPr>
              <a:t>According to the open source definition of OpenSource.org a license should not:</a:t>
            </a:r>
          </a:p>
        </p:txBody>
      </p:sp>
      <p:pic>
        <p:nvPicPr>
          <p:cNvPr id="8" name="Picture 7" descr="Icon of two people">
            <a:extLst>
              <a:ext uri="{FF2B5EF4-FFF2-40B4-BE49-F238E27FC236}">
                <a16:creationId xmlns:a16="http://schemas.microsoft.com/office/drawing/2014/main" id="{09AAD6D9-EA0B-4876-9F04-0E436CA94E31}"/>
              </a:ext>
            </a:extLst>
          </p:cNvPr>
          <p:cNvPicPr>
            <a:picLocks noChangeAspect="1"/>
          </p:cNvPicPr>
          <p:nvPr/>
        </p:nvPicPr>
        <p:blipFill>
          <a:blip r:embed="rId3"/>
          <a:stretch>
            <a:fillRect/>
          </a:stretch>
        </p:blipFill>
        <p:spPr>
          <a:xfrm>
            <a:off x="431800" y="1711320"/>
            <a:ext cx="952500" cy="952500"/>
          </a:xfrm>
          <a:prstGeom prst="rect">
            <a:avLst/>
          </a:prstGeom>
        </p:spPr>
      </p:pic>
      <p:sp>
        <p:nvSpPr>
          <p:cNvPr id="58" name="Rectangle 57">
            <a:extLst>
              <a:ext uri="{FF2B5EF4-FFF2-40B4-BE49-F238E27FC236}">
                <a16:creationId xmlns:a16="http://schemas.microsoft.com/office/drawing/2014/main" id="{178D6D2F-4F6F-477F-AD34-EF08B47BBA11}"/>
              </a:ext>
            </a:extLst>
          </p:cNvPr>
          <p:cNvSpPr>
            <a:spLocks/>
          </p:cNvSpPr>
          <p:nvPr/>
        </p:nvSpPr>
        <p:spPr>
          <a:xfrm>
            <a:off x="1646238" y="2033682"/>
            <a:ext cx="10363199" cy="307777"/>
          </a:xfrm>
          <a:prstGeom prst="rect">
            <a:avLst/>
          </a:prstGeom>
        </p:spPr>
        <p:txBody>
          <a:bodyPr wrap="square" lIns="0" tIns="0" rIns="0" bIns="0" anchor="ctr">
            <a:spAutoFit/>
          </a:bodyPr>
          <a:lstStyle/>
          <a:p>
            <a:pPr>
              <a:spcBef>
                <a:spcPts val="600"/>
              </a:spcBef>
              <a:spcAft>
                <a:spcPts val="600"/>
              </a:spcAft>
            </a:pPr>
            <a:r>
              <a:rPr lang="en-US" sz="2000"/>
              <a:t>Discriminate against persons or groups</a:t>
            </a:r>
          </a:p>
        </p:txBody>
      </p:sp>
      <p:cxnSp>
        <p:nvCxnSpPr>
          <p:cNvPr id="62" name="Straight Connector 61">
            <a:extLst>
              <a:ext uri="{FF2B5EF4-FFF2-40B4-BE49-F238E27FC236}">
                <a16:creationId xmlns:a16="http://schemas.microsoft.com/office/drawing/2014/main" id="{F117B5C7-B860-4392-92D6-75760243CA23}"/>
              </a:ext>
              <a:ext uri="{C183D7F6-B498-43B3-948B-1728B52AA6E4}">
                <adec:decorative xmlns:adec="http://schemas.microsoft.com/office/drawing/2017/decorative" val="1"/>
              </a:ext>
            </a:extLst>
          </p:cNvPr>
          <p:cNvCxnSpPr>
            <a:cxnSpLocks/>
          </p:cNvCxnSpPr>
          <p:nvPr/>
        </p:nvCxnSpPr>
        <p:spPr>
          <a:xfrm>
            <a:off x="1646238" y="2790575"/>
            <a:ext cx="1035208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descr="Icon of a checkmark inside a badge">
            <a:extLst>
              <a:ext uri="{FF2B5EF4-FFF2-40B4-BE49-F238E27FC236}">
                <a16:creationId xmlns:a16="http://schemas.microsoft.com/office/drawing/2014/main" id="{A67E7B6F-FCB7-458A-965C-083F9CA18F5E}"/>
              </a:ext>
            </a:extLst>
          </p:cNvPr>
          <p:cNvPicPr>
            <a:picLocks noChangeAspect="1"/>
          </p:cNvPicPr>
          <p:nvPr/>
        </p:nvPicPr>
        <p:blipFill>
          <a:blip r:embed="rId4"/>
          <a:stretch>
            <a:fillRect/>
          </a:stretch>
        </p:blipFill>
        <p:spPr>
          <a:xfrm>
            <a:off x="431800" y="2917330"/>
            <a:ext cx="952500" cy="952500"/>
          </a:xfrm>
          <a:prstGeom prst="rect">
            <a:avLst/>
          </a:prstGeom>
        </p:spPr>
      </p:pic>
      <p:sp>
        <p:nvSpPr>
          <p:cNvPr id="59" name="Rectangle 58">
            <a:extLst>
              <a:ext uri="{FF2B5EF4-FFF2-40B4-BE49-F238E27FC236}">
                <a16:creationId xmlns:a16="http://schemas.microsoft.com/office/drawing/2014/main" id="{08FAD90B-19D5-4558-BCC5-B2DE7E689EE1}"/>
              </a:ext>
            </a:extLst>
          </p:cNvPr>
          <p:cNvSpPr>
            <a:spLocks/>
          </p:cNvSpPr>
          <p:nvPr/>
        </p:nvSpPr>
        <p:spPr>
          <a:xfrm>
            <a:off x="1646238" y="3239692"/>
            <a:ext cx="10363199" cy="307777"/>
          </a:xfrm>
          <a:prstGeom prst="rect">
            <a:avLst/>
          </a:prstGeom>
        </p:spPr>
        <p:txBody>
          <a:bodyPr wrap="square" lIns="0" tIns="0" rIns="0" bIns="0" anchor="ctr">
            <a:spAutoFit/>
          </a:bodyPr>
          <a:lstStyle/>
          <a:p>
            <a:pPr>
              <a:spcBef>
                <a:spcPts val="600"/>
              </a:spcBef>
              <a:spcAft>
                <a:spcPts val="600"/>
              </a:spcAft>
            </a:pPr>
            <a:r>
              <a:rPr lang="en-US" sz="2000"/>
              <a:t>Discriminate against fields of endeavor</a:t>
            </a:r>
          </a:p>
        </p:txBody>
      </p:sp>
      <p:cxnSp>
        <p:nvCxnSpPr>
          <p:cNvPr id="63" name="Straight Connector 62">
            <a:extLst>
              <a:ext uri="{FF2B5EF4-FFF2-40B4-BE49-F238E27FC236}">
                <a16:creationId xmlns:a16="http://schemas.microsoft.com/office/drawing/2014/main" id="{5BBF24D0-E593-4C66-98BC-259F10749C85}"/>
              </a:ext>
              <a:ext uri="{C183D7F6-B498-43B3-948B-1728B52AA6E4}">
                <adec:decorative xmlns:adec="http://schemas.microsoft.com/office/drawing/2017/decorative" val="1"/>
              </a:ext>
            </a:extLst>
          </p:cNvPr>
          <p:cNvCxnSpPr>
            <a:cxnSpLocks/>
          </p:cNvCxnSpPr>
          <p:nvPr/>
        </p:nvCxnSpPr>
        <p:spPr>
          <a:xfrm>
            <a:off x="1646238" y="3996585"/>
            <a:ext cx="1036319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descr="Icon of a document">
            <a:extLst>
              <a:ext uri="{FF2B5EF4-FFF2-40B4-BE49-F238E27FC236}">
                <a16:creationId xmlns:a16="http://schemas.microsoft.com/office/drawing/2014/main" id="{D0BA6485-2E9F-43A6-8AF7-4A6BAB14080B}"/>
              </a:ext>
            </a:extLst>
          </p:cNvPr>
          <p:cNvPicPr>
            <a:picLocks noChangeAspect="1"/>
          </p:cNvPicPr>
          <p:nvPr/>
        </p:nvPicPr>
        <p:blipFill>
          <a:blip r:embed="rId5"/>
          <a:stretch>
            <a:fillRect/>
          </a:stretch>
        </p:blipFill>
        <p:spPr>
          <a:xfrm>
            <a:off x="431800" y="4123340"/>
            <a:ext cx="952500" cy="952500"/>
          </a:xfrm>
          <a:prstGeom prst="rect">
            <a:avLst/>
          </a:prstGeom>
        </p:spPr>
      </p:pic>
      <p:sp>
        <p:nvSpPr>
          <p:cNvPr id="60" name="Rectangle 59">
            <a:extLst>
              <a:ext uri="{FF2B5EF4-FFF2-40B4-BE49-F238E27FC236}">
                <a16:creationId xmlns:a16="http://schemas.microsoft.com/office/drawing/2014/main" id="{AFA1C8CC-C223-45E8-ACB3-065A50855BAB}"/>
              </a:ext>
            </a:extLst>
          </p:cNvPr>
          <p:cNvSpPr>
            <a:spLocks/>
          </p:cNvSpPr>
          <p:nvPr/>
        </p:nvSpPr>
        <p:spPr>
          <a:xfrm>
            <a:off x="1646239" y="4445702"/>
            <a:ext cx="10363200" cy="307777"/>
          </a:xfrm>
          <a:prstGeom prst="rect">
            <a:avLst/>
          </a:prstGeom>
        </p:spPr>
        <p:txBody>
          <a:bodyPr wrap="square" lIns="0" tIns="0" rIns="0" bIns="0" anchor="ctr">
            <a:spAutoFit/>
          </a:bodyPr>
          <a:lstStyle/>
          <a:p>
            <a:pPr>
              <a:spcBef>
                <a:spcPts val="600"/>
              </a:spcBef>
              <a:spcAft>
                <a:spcPts val="600"/>
              </a:spcAft>
            </a:pPr>
            <a:r>
              <a:rPr lang="en-US" sz="2000"/>
              <a:t>Be specific to a product</a:t>
            </a:r>
          </a:p>
        </p:txBody>
      </p:sp>
      <p:cxnSp>
        <p:nvCxnSpPr>
          <p:cNvPr id="64" name="Straight Connector 63">
            <a:extLst>
              <a:ext uri="{FF2B5EF4-FFF2-40B4-BE49-F238E27FC236}">
                <a16:creationId xmlns:a16="http://schemas.microsoft.com/office/drawing/2014/main" id="{7E19AA60-EAFD-4E4A-B8F6-EFCE82CB481E}"/>
              </a:ext>
              <a:ext uri="{C183D7F6-B498-43B3-948B-1728B52AA6E4}">
                <adec:decorative xmlns:adec="http://schemas.microsoft.com/office/drawing/2017/decorative" val="1"/>
              </a:ext>
            </a:extLst>
          </p:cNvPr>
          <p:cNvCxnSpPr>
            <a:cxnSpLocks/>
          </p:cNvCxnSpPr>
          <p:nvPr/>
        </p:nvCxnSpPr>
        <p:spPr>
          <a:xfrm>
            <a:off x="1646238" y="5202595"/>
            <a:ext cx="1035208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Icon of check mark enclosed by an arc">
            <a:extLst>
              <a:ext uri="{FF2B5EF4-FFF2-40B4-BE49-F238E27FC236}">
                <a16:creationId xmlns:a16="http://schemas.microsoft.com/office/drawing/2014/main" id="{BAD94B53-B93D-4586-861D-8EB2550BE2FC}"/>
              </a:ext>
            </a:extLst>
          </p:cNvPr>
          <p:cNvPicPr>
            <a:picLocks noChangeAspect="1"/>
          </p:cNvPicPr>
          <p:nvPr/>
        </p:nvPicPr>
        <p:blipFill>
          <a:blip r:embed="rId6"/>
          <a:stretch>
            <a:fillRect/>
          </a:stretch>
        </p:blipFill>
        <p:spPr>
          <a:xfrm>
            <a:off x="431800" y="5329350"/>
            <a:ext cx="952500" cy="952500"/>
          </a:xfrm>
          <a:prstGeom prst="rect">
            <a:avLst/>
          </a:prstGeom>
        </p:spPr>
      </p:pic>
      <p:sp>
        <p:nvSpPr>
          <p:cNvPr id="61" name="Rectangle 60">
            <a:extLst>
              <a:ext uri="{FF2B5EF4-FFF2-40B4-BE49-F238E27FC236}">
                <a16:creationId xmlns:a16="http://schemas.microsoft.com/office/drawing/2014/main" id="{BEE48B26-944E-4BB7-A9EA-F5BEA6C54CFA}"/>
              </a:ext>
            </a:extLst>
          </p:cNvPr>
          <p:cNvSpPr>
            <a:spLocks/>
          </p:cNvSpPr>
          <p:nvPr/>
        </p:nvSpPr>
        <p:spPr>
          <a:xfrm>
            <a:off x="1646239" y="5651712"/>
            <a:ext cx="10363200" cy="307777"/>
          </a:xfrm>
          <a:prstGeom prst="rect">
            <a:avLst/>
          </a:prstGeom>
        </p:spPr>
        <p:txBody>
          <a:bodyPr wrap="square" lIns="0" tIns="0" rIns="0" bIns="0" anchor="ctr">
            <a:spAutoFit/>
          </a:bodyPr>
          <a:lstStyle/>
          <a:p>
            <a:pPr>
              <a:spcBef>
                <a:spcPts val="600"/>
              </a:spcBef>
              <a:spcAft>
                <a:spcPts val="600"/>
              </a:spcAft>
            </a:pPr>
            <a:r>
              <a:rPr lang="en-US" sz="2000"/>
              <a:t>Restrict other software</a:t>
            </a:r>
          </a:p>
        </p:txBody>
      </p:sp>
    </p:spTree>
    <p:extLst>
      <p:ext uri="{BB962C8B-B14F-4D97-AF65-F5344CB8AC3E}">
        <p14:creationId xmlns:p14="http://schemas.microsoft.com/office/powerpoint/2010/main" val="1713357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A0824-75AF-4CCD-882B-00DFB808DB39}"/>
              </a:ext>
            </a:extLst>
          </p:cNvPr>
          <p:cNvSpPr>
            <a:spLocks noGrp="1"/>
          </p:cNvSpPr>
          <p:nvPr>
            <p:ph type="title"/>
          </p:nvPr>
        </p:nvSpPr>
        <p:spPr/>
        <p:txBody>
          <a:bodyPr/>
          <a:lstStyle/>
          <a:p>
            <a:r>
              <a:rPr lang="en-US"/>
              <a:t>Open-source package license</a:t>
            </a:r>
          </a:p>
        </p:txBody>
      </p:sp>
      <p:sp>
        <p:nvSpPr>
          <p:cNvPr id="9" name="Rectangle 8">
            <a:extLst>
              <a:ext uri="{FF2B5EF4-FFF2-40B4-BE49-F238E27FC236}">
                <a16:creationId xmlns:a16="http://schemas.microsoft.com/office/drawing/2014/main" id="{7161F1B7-05CB-4933-B2E8-76E0E0787167}"/>
              </a:ext>
              <a:ext uri="{C183D7F6-B498-43B3-948B-1728B52AA6E4}">
                <adec:decorative xmlns:adec="http://schemas.microsoft.com/office/drawing/2017/decorative" val="1"/>
              </a:ext>
            </a:extLst>
          </p:cNvPr>
          <p:cNvSpPr/>
          <p:nvPr/>
        </p:nvSpPr>
        <p:spPr bwMode="auto">
          <a:xfrm>
            <a:off x="427038" y="1714500"/>
            <a:ext cx="11582400" cy="4400550"/>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Pentagon 15">
            <a:extLst>
              <a:ext uri="{FF2B5EF4-FFF2-40B4-BE49-F238E27FC236}">
                <a16:creationId xmlns:a16="http://schemas.microsoft.com/office/drawing/2014/main" id="{C65025D2-D56B-46E6-ADC6-B545EE465422}"/>
              </a:ext>
            </a:extLst>
          </p:cNvPr>
          <p:cNvSpPr/>
          <p:nvPr/>
        </p:nvSpPr>
        <p:spPr bwMode="auto">
          <a:xfrm>
            <a:off x="4740601" y="1935295"/>
            <a:ext cx="7138311" cy="745595"/>
          </a:xfrm>
          <a:prstGeom prst="homePlate">
            <a:avLst>
              <a:gd name="adj" fmla="val 30837"/>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66400" tIns="33200" rIns="457200" bIns="66400" numCol="1" spcCol="0" rtlCol="0" fromWordArt="0" anchor="ctr" anchorCtr="0" forceAA="0" compatLnSpc="1">
            <a:prstTxWarp prst="textNoShape">
              <a:avLst/>
            </a:prstTxWarp>
            <a:noAutofit/>
          </a:bodyPr>
          <a:lstStyle/>
          <a:p>
            <a:pPr marL="581057" algn="r" defTabSz="663847">
              <a:defRPr/>
            </a:pPr>
            <a:r>
              <a:rPr lang="en-US" sz="2400">
                <a:latin typeface="+mj-lt"/>
                <a:ea typeface="Segoe UI" pitchFamily="34" charset="0"/>
                <a:cs typeface="Segoe UI" pitchFamily="34" charset="0"/>
              </a:rPr>
              <a:t>Restrictive</a:t>
            </a:r>
          </a:p>
        </p:txBody>
      </p:sp>
      <p:sp>
        <p:nvSpPr>
          <p:cNvPr id="4" name="Rectangle 3">
            <a:extLst>
              <a:ext uri="{FF2B5EF4-FFF2-40B4-BE49-F238E27FC236}">
                <a16:creationId xmlns:a16="http://schemas.microsoft.com/office/drawing/2014/main" id="{1D0062D8-2123-4E48-A0CF-E93D4837541A}"/>
              </a:ext>
            </a:extLst>
          </p:cNvPr>
          <p:cNvSpPr/>
          <p:nvPr>
            <p:custDataLst>
              <p:tags r:id="rId1"/>
            </p:custDataLst>
          </p:nvPr>
        </p:nvSpPr>
        <p:spPr>
          <a:xfrm>
            <a:off x="842964" y="2829163"/>
            <a:ext cx="3515913" cy="2214203"/>
          </a:xfrm>
          <a:prstGeom prst="rect">
            <a:avLst/>
          </a:prstGeom>
          <a:solidFill>
            <a:srgbClr val="243A5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600"/>
              </a:spcBef>
              <a:spcAft>
                <a:spcPts val="1200"/>
              </a:spcAft>
            </a:pPr>
            <a:r>
              <a:rPr lang="en-US" sz="2400">
                <a:solidFill>
                  <a:schemeClr val="bg1"/>
                </a:solidFill>
                <a:ea typeface="Segoe UI" pitchFamily="34" charset="0"/>
                <a:cs typeface="Segoe UI" pitchFamily="34" charset="0"/>
                <a:sym typeface="Segoe Light"/>
              </a:rPr>
              <a:t>ATTRIBUTION</a:t>
            </a:r>
          </a:p>
          <a:p>
            <a:pPr algn="ctr" defTabSz="699291">
              <a:spcAft>
                <a:spcPts val="200"/>
              </a:spcAft>
            </a:pPr>
            <a:r>
              <a:rPr lang="en-US" sz="2400">
                <a:solidFill>
                  <a:schemeClr val="bg1"/>
                </a:solidFill>
                <a:ea typeface="Segoe UI" pitchFamily="34" charset="0"/>
                <a:cs typeface="Segoe UI" pitchFamily="34" charset="0"/>
                <a:sym typeface="Segoe Light"/>
              </a:rPr>
              <a:t>BSD</a:t>
            </a:r>
          </a:p>
          <a:p>
            <a:pPr algn="ctr" defTabSz="699291">
              <a:spcAft>
                <a:spcPts val="200"/>
              </a:spcAft>
            </a:pPr>
            <a:r>
              <a:rPr lang="en-US" sz="2400">
                <a:solidFill>
                  <a:schemeClr val="bg1"/>
                </a:solidFill>
                <a:ea typeface="Segoe UI" pitchFamily="34" charset="0"/>
                <a:cs typeface="Segoe UI" pitchFamily="34" charset="0"/>
                <a:sym typeface="Segoe Light"/>
              </a:rPr>
              <a:t>MIT</a:t>
            </a:r>
          </a:p>
          <a:p>
            <a:pPr algn="ctr" defTabSz="699291">
              <a:spcAft>
                <a:spcPts val="200"/>
              </a:spcAft>
            </a:pPr>
            <a:r>
              <a:rPr lang="en-US" sz="2400">
                <a:solidFill>
                  <a:schemeClr val="bg1"/>
                </a:solidFill>
                <a:ea typeface="Segoe UI" pitchFamily="34" charset="0"/>
                <a:cs typeface="Segoe UI" pitchFamily="34" charset="0"/>
                <a:sym typeface="Segoe Light"/>
              </a:rPr>
              <a:t>Apache</a:t>
            </a:r>
          </a:p>
        </p:txBody>
      </p:sp>
      <p:sp>
        <p:nvSpPr>
          <p:cNvPr id="5" name="Rectangle 4">
            <a:extLst>
              <a:ext uri="{FF2B5EF4-FFF2-40B4-BE49-F238E27FC236}">
                <a16:creationId xmlns:a16="http://schemas.microsoft.com/office/drawing/2014/main" id="{55C80776-2AE1-47C4-B0FD-A170FAC6B8E4}"/>
              </a:ext>
            </a:extLst>
          </p:cNvPr>
          <p:cNvSpPr/>
          <p:nvPr>
            <p:custDataLst>
              <p:tags r:id="rId2"/>
            </p:custDataLst>
          </p:nvPr>
        </p:nvSpPr>
        <p:spPr>
          <a:xfrm>
            <a:off x="4485683" y="2829163"/>
            <a:ext cx="3515913" cy="2214203"/>
          </a:xfrm>
          <a:prstGeom prst="rect">
            <a:avLst/>
          </a:prstGeom>
          <a:solidFill>
            <a:schemeClr val="accent4">
              <a:lumMod val="50000"/>
            </a:schemeClr>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Aft>
                <a:spcPts val="1200"/>
              </a:spcAft>
            </a:pPr>
            <a:r>
              <a:rPr lang="en-US" sz="2400">
                <a:solidFill>
                  <a:schemeClr val="bg1"/>
                </a:solidFill>
                <a:ea typeface="Segoe UI" pitchFamily="34" charset="0"/>
                <a:cs typeface="Segoe UI" pitchFamily="34" charset="0"/>
                <a:sym typeface="Segoe Light"/>
              </a:rPr>
              <a:t>DOWNSTREAM</a:t>
            </a:r>
          </a:p>
          <a:p>
            <a:pPr algn="ctr" defTabSz="699291">
              <a:spcAft>
                <a:spcPts val="200"/>
              </a:spcAft>
            </a:pPr>
            <a:r>
              <a:rPr lang="en-US" sz="2400">
                <a:solidFill>
                  <a:schemeClr val="bg1"/>
                </a:solidFill>
                <a:ea typeface="Segoe UI" pitchFamily="34" charset="0"/>
                <a:cs typeface="Segoe UI" pitchFamily="34" charset="0"/>
                <a:sym typeface="Segoe Light"/>
              </a:rPr>
              <a:t>MPL</a:t>
            </a:r>
          </a:p>
          <a:p>
            <a:pPr algn="ctr" defTabSz="699291">
              <a:spcAft>
                <a:spcPts val="200"/>
              </a:spcAft>
            </a:pPr>
            <a:r>
              <a:rPr lang="en-US" sz="2400">
                <a:solidFill>
                  <a:schemeClr val="bg1"/>
                </a:solidFill>
                <a:ea typeface="Segoe UI" pitchFamily="34" charset="0"/>
                <a:cs typeface="Segoe UI" pitchFamily="34" charset="0"/>
                <a:sym typeface="Segoe Light"/>
              </a:rPr>
              <a:t>EPL</a:t>
            </a:r>
          </a:p>
          <a:p>
            <a:pPr algn="ctr" defTabSz="699291">
              <a:spcAft>
                <a:spcPts val="200"/>
              </a:spcAft>
            </a:pPr>
            <a:r>
              <a:rPr lang="en-US" sz="2400">
                <a:solidFill>
                  <a:schemeClr val="bg1"/>
                </a:solidFill>
                <a:ea typeface="Segoe UI" pitchFamily="34" charset="0"/>
                <a:cs typeface="Segoe UI" pitchFamily="34" charset="0"/>
                <a:sym typeface="Segoe Light"/>
              </a:rPr>
              <a:t>MS-RL</a:t>
            </a:r>
          </a:p>
        </p:txBody>
      </p:sp>
      <p:sp>
        <p:nvSpPr>
          <p:cNvPr id="6" name="Rectangle 5">
            <a:extLst>
              <a:ext uri="{FF2B5EF4-FFF2-40B4-BE49-F238E27FC236}">
                <a16:creationId xmlns:a16="http://schemas.microsoft.com/office/drawing/2014/main" id="{B2886395-8C18-49D0-AFF5-F6A04AE00ADF}"/>
              </a:ext>
            </a:extLst>
          </p:cNvPr>
          <p:cNvSpPr/>
          <p:nvPr>
            <p:custDataLst>
              <p:tags r:id="rId3"/>
            </p:custDataLst>
          </p:nvPr>
        </p:nvSpPr>
        <p:spPr>
          <a:xfrm>
            <a:off x="8128401" y="2829163"/>
            <a:ext cx="3515913" cy="2214203"/>
          </a:xfrm>
          <a:prstGeom prst="rect">
            <a:avLst/>
          </a:prstGeom>
          <a:solidFill>
            <a:schemeClr val="accent6">
              <a:lumMod val="25000"/>
            </a:schemeClr>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1200"/>
              </a:spcBef>
              <a:spcAft>
                <a:spcPts val="1200"/>
              </a:spcAft>
            </a:pPr>
            <a:r>
              <a:rPr lang="en-US" sz="2400">
                <a:solidFill>
                  <a:schemeClr val="bg1"/>
                </a:solidFill>
                <a:cs typeface="Segoe UI" pitchFamily="34" charset="0"/>
                <a:sym typeface="Segoe Light"/>
              </a:rPr>
              <a:t>COPYLEFT</a:t>
            </a:r>
          </a:p>
          <a:p>
            <a:pPr algn="ctr" defTabSz="699291">
              <a:spcAft>
                <a:spcPts val="200"/>
              </a:spcAft>
            </a:pPr>
            <a:r>
              <a:rPr lang="en-US" sz="2400">
                <a:solidFill>
                  <a:schemeClr val="bg1"/>
                </a:solidFill>
                <a:cs typeface="Segoe UI" pitchFamily="34" charset="0"/>
                <a:sym typeface="Segoe Light"/>
              </a:rPr>
              <a:t>GPL</a:t>
            </a:r>
          </a:p>
          <a:p>
            <a:pPr algn="ctr" defTabSz="699291">
              <a:spcAft>
                <a:spcPts val="200"/>
              </a:spcAft>
            </a:pPr>
            <a:r>
              <a:rPr lang="en-US" sz="2400">
                <a:solidFill>
                  <a:schemeClr val="bg1"/>
                </a:solidFill>
                <a:cs typeface="Segoe UI" pitchFamily="34" charset="0"/>
                <a:sym typeface="Segoe Light"/>
              </a:rPr>
              <a:t>LGPL</a:t>
            </a:r>
          </a:p>
          <a:p>
            <a:pPr algn="ctr" defTabSz="699291">
              <a:spcAft>
                <a:spcPts val="200"/>
              </a:spcAft>
            </a:pPr>
            <a:r>
              <a:rPr lang="en-US" sz="2400">
                <a:solidFill>
                  <a:schemeClr val="bg1"/>
                </a:solidFill>
                <a:cs typeface="Segoe UI" pitchFamily="34" charset="0"/>
                <a:sym typeface="Segoe Light"/>
              </a:rPr>
              <a:t>AGPL</a:t>
            </a:r>
          </a:p>
        </p:txBody>
      </p:sp>
      <p:sp>
        <p:nvSpPr>
          <p:cNvPr id="7" name="Pentagon 15">
            <a:extLst>
              <a:ext uri="{FF2B5EF4-FFF2-40B4-BE49-F238E27FC236}">
                <a16:creationId xmlns:a16="http://schemas.microsoft.com/office/drawing/2014/main" id="{20197764-8A48-43BC-9CC8-EF8D959A3256}"/>
              </a:ext>
            </a:extLst>
          </p:cNvPr>
          <p:cNvSpPr/>
          <p:nvPr/>
        </p:nvSpPr>
        <p:spPr bwMode="auto">
          <a:xfrm flipH="1">
            <a:off x="621019" y="5165017"/>
            <a:ext cx="7288208" cy="745595"/>
          </a:xfrm>
          <a:prstGeom prst="homePlate">
            <a:avLst>
              <a:gd name="adj" fmla="val 30837"/>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457200" tIns="33200" rIns="33200" bIns="66400" numCol="1" spcCol="0" rtlCol="0" fromWordArt="0" anchor="ctr" anchorCtr="0" forceAA="0" compatLnSpc="1">
            <a:prstTxWarp prst="textNoShape">
              <a:avLst/>
            </a:prstTxWarp>
            <a:noAutofit/>
          </a:bodyPr>
          <a:lstStyle/>
          <a:p>
            <a:pPr defTabSz="663847">
              <a:defRPr/>
            </a:pPr>
            <a:r>
              <a:rPr lang="en-US" sz="2400">
                <a:latin typeface="+mj-lt"/>
                <a:ea typeface="Segoe UI" pitchFamily="34" charset="0"/>
                <a:cs typeface="Segoe UI" pitchFamily="34" charset="0"/>
              </a:rPr>
              <a:t>Permissive</a:t>
            </a:r>
            <a:endParaRPr lang="en-US" sz="2400" kern="0" spc="-36">
              <a:latin typeface="+mj-lt"/>
              <a:ea typeface="Segoe UI" pitchFamily="34" charset="0"/>
              <a:cs typeface="Segoe UI" pitchFamily="34" charset="0"/>
            </a:endParaRPr>
          </a:p>
        </p:txBody>
      </p:sp>
    </p:spTree>
    <p:extLst>
      <p:ext uri="{BB962C8B-B14F-4D97-AF65-F5344CB8AC3E}">
        <p14:creationId xmlns:p14="http://schemas.microsoft.com/office/powerpoint/2010/main" val="1152369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righ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animBg="1"/>
      <p:bldP spid="5" grpId="0" animBg="1"/>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007-FCCD-4CDA-A543-235BA547DD2F}"/>
              </a:ext>
            </a:extLst>
          </p:cNvPr>
          <p:cNvSpPr>
            <a:spLocks noGrp="1"/>
          </p:cNvSpPr>
          <p:nvPr>
            <p:ph type="title"/>
          </p:nvPr>
        </p:nvSpPr>
        <p:spPr/>
        <p:txBody>
          <a:bodyPr/>
          <a:lstStyle/>
          <a:p>
            <a:r>
              <a:rPr lang="en-US"/>
              <a:t>License implications and rating</a:t>
            </a:r>
          </a:p>
        </p:txBody>
      </p:sp>
      <p:sp>
        <p:nvSpPr>
          <p:cNvPr id="41" name="Rectangle 40">
            <a:extLst>
              <a:ext uri="{FF2B5EF4-FFF2-40B4-BE49-F238E27FC236}">
                <a16:creationId xmlns:a16="http://schemas.microsoft.com/office/drawing/2014/main" id="{A4074F7C-1E1E-4F5D-9519-7F86A3B789E3}"/>
              </a:ext>
            </a:extLst>
          </p:cNvPr>
          <p:cNvSpPr/>
          <p:nvPr/>
        </p:nvSpPr>
        <p:spPr>
          <a:xfrm>
            <a:off x="466344" y="1188720"/>
            <a:ext cx="11531981" cy="369332"/>
          </a:xfrm>
          <a:prstGeom prst="rect">
            <a:avLst/>
          </a:prstGeom>
        </p:spPr>
        <p:txBody>
          <a:bodyPr wrap="square" lIns="0" tIns="0" rIns="0" bIns="0">
            <a:spAutoFit/>
          </a:bodyPr>
          <a:lstStyle/>
          <a:p>
            <a:r>
              <a:rPr lang="en-US" sz="2400">
                <a:latin typeface="+mj-lt"/>
              </a:rPr>
              <a:t>Using a package implies following license requirements:</a:t>
            </a:r>
          </a:p>
        </p:txBody>
      </p:sp>
      <p:sp>
        <p:nvSpPr>
          <p:cNvPr id="3" name="Rectangle 2">
            <a:extLst>
              <a:ext uri="{FF2B5EF4-FFF2-40B4-BE49-F238E27FC236}">
                <a16:creationId xmlns:a16="http://schemas.microsoft.com/office/drawing/2014/main" id="{8DCD46DE-5D07-4A36-971D-65368C857153}"/>
              </a:ext>
            </a:extLst>
          </p:cNvPr>
          <p:cNvSpPr>
            <a:spLocks/>
          </p:cNvSpPr>
          <p:nvPr/>
        </p:nvSpPr>
        <p:spPr bwMode="auto">
          <a:xfrm>
            <a:off x="427037" y="2416175"/>
            <a:ext cx="5681898" cy="2423816"/>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0" lvl="1">
              <a:defRPr/>
            </a:pPr>
            <a:r>
              <a:rPr lang="en-US" sz="2200">
                <a:solidFill>
                  <a:schemeClr val="tx1"/>
                </a:solidFill>
                <a:latin typeface="+mj-lt"/>
              </a:rPr>
              <a:t>Depending on license type this may have a high, medium or low impact on distributed software using it</a:t>
            </a:r>
          </a:p>
        </p:txBody>
      </p:sp>
      <p:sp>
        <p:nvSpPr>
          <p:cNvPr id="4" name="Rectangle 3">
            <a:extLst>
              <a:ext uri="{FF2B5EF4-FFF2-40B4-BE49-F238E27FC236}">
                <a16:creationId xmlns:a16="http://schemas.microsoft.com/office/drawing/2014/main" id="{AF57B293-3710-42FF-91E3-3AF2EA0CC4DC}"/>
              </a:ext>
            </a:extLst>
          </p:cNvPr>
          <p:cNvSpPr>
            <a:spLocks/>
          </p:cNvSpPr>
          <p:nvPr/>
        </p:nvSpPr>
        <p:spPr bwMode="auto">
          <a:xfrm>
            <a:off x="6316426" y="2416175"/>
            <a:ext cx="5681898" cy="2423816"/>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lvl="0">
              <a:defRPr/>
            </a:pPr>
            <a:r>
              <a:rPr lang="en-US" sz="2200">
                <a:solidFill>
                  <a:schemeClr val="tx1"/>
                </a:solidFill>
                <a:latin typeface="+mj-lt"/>
              </a:rPr>
              <a:t>License rating indicates impact of use of packages:</a:t>
            </a:r>
          </a:p>
          <a:p>
            <a:pPr marL="0" lvl="1">
              <a:spcBef>
                <a:spcPts val="600"/>
              </a:spcBef>
              <a:spcAft>
                <a:spcPts val="600"/>
              </a:spcAft>
              <a:defRPr/>
            </a:pPr>
            <a:r>
              <a:rPr lang="en-US" sz="2000">
                <a:solidFill>
                  <a:schemeClr val="tx1"/>
                </a:solidFill>
              </a:rPr>
              <a:t>Compliancy</a:t>
            </a:r>
          </a:p>
          <a:p>
            <a:pPr marL="0" lvl="1">
              <a:spcBef>
                <a:spcPts val="600"/>
              </a:spcBef>
              <a:spcAft>
                <a:spcPts val="600"/>
              </a:spcAft>
              <a:defRPr/>
            </a:pPr>
            <a:r>
              <a:rPr lang="en-US" sz="2000">
                <a:solidFill>
                  <a:schemeClr val="tx1"/>
                </a:solidFill>
              </a:rPr>
              <a:t>Intellectual property</a:t>
            </a:r>
          </a:p>
          <a:p>
            <a:pPr marL="0" lvl="1">
              <a:spcBef>
                <a:spcPts val="600"/>
              </a:spcBef>
              <a:spcAft>
                <a:spcPts val="600"/>
              </a:spcAft>
              <a:defRPr/>
            </a:pPr>
            <a:r>
              <a:rPr lang="en-US" sz="2000">
                <a:solidFill>
                  <a:schemeClr val="tx1"/>
                </a:solidFill>
              </a:rPr>
              <a:t>Exclusive rights</a:t>
            </a:r>
          </a:p>
        </p:txBody>
      </p:sp>
    </p:spTree>
    <p:extLst>
      <p:ext uri="{BB962C8B-B14F-4D97-AF65-F5344CB8AC3E}">
        <p14:creationId xmlns:p14="http://schemas.microsoft.com/office/powerpoint/2010/main" val="34650628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4: Integrating license and vulnerability scans</a:t>
            </a:r>
          </a:p>
        </p:txBody>
      </p:sp>
      <p:pic>
        <p:nvPicPr>
          <p:cNvPr id="6" name="Picture 5" descr="Icon of a closed and open bracket">
            <a:extLst>
              <a:ext uri="{FF2B5EF4-FFF2-40B4-BE49-F238E27FC236}">
                <a16:creationId xmlns:a16="http://schemas.microsoft.com/office/drawing/2014/main" id="{0591EBCD-7950-4A5C-9031-691E1ADDF00E}"/>
              </a:ext>
            </a:extLst>
          </p:cNvPr>
          <p:cNvPicPr>
            <a:picLocks noChangeAspect="1"/>
          </p:cNvPicPr>
          <p:nvPr/>
        </p:nvPicPr>
        <p:blipFill>
          <a:blip r:embed="rId2"/>
          <a:stretch>
            <a:fillRect/>
          </a:stretch>
        </p:blipFill>
        <p:spPr>
          <a:xfrm>
            <a:off x="10454518" y="2952751"/>
            <a:ext cx="890514" cy="1097280"/>
          </a:xfrm>
          <a:prstGeom prst="rect">
            <a:avLst/>
          </a:prstGeom>
          <a:noFill/>
          <a:ln>
            <a:noFill/>
            <a:headEnd type="none" w="med" len="med"/>
            <a:tailEnd type="none" w="med" len="med"/>
          </a:ln>
          <a:effectLst/>
        </p:spPr>
      </p:pic>
    </p:spTree>
    <p:extLst>
      <p:ext uri="{BB962C8B-B14F-4D97-AF65-F5344CB8AC3E}">
        <p14:creationId xmlns:p14="http://schemas.microsoft.com/office/powerpoint/2010/main" val="10654137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1: Module overview</a:t>
            </a:r>
          </a:p>
        </p:txBody>
      </p:sp>
      <p:pic>
        <p:nvPicPr>
          <p:cNvPr id="2" name="Picture 1" descr="Icon of a magnifying glass">
            <a:extLst>
              <a:ext uri="{FF2B5EF4-FFF2-40B4-BE49-F238E27FC236}">
                <a16:creationId xmlns:a16="http://schemas.microsoft.com/office/drawing/2014/main" id="{6EF11033-F145-45ED-9B07-7C9B7A4A082A}"/>
              </a:ext>
            </a:extLst>
          </p:cNvPr>
          <p:cNvPicPr>
            <a:picLocks noChangeAspect="1"/>
          </p:cNvPicPr>
          <p:nvPr/>
        </p:nvPicPr>
        <p:blipFill>
          <a:blip r:embed="rId2"/>
          <a:stretch>
            <a:fillRect/>
          </a:stretch>
        </p:blipFill>
        <p:spPr>
          <a:xfrm>
            <a:off x="10409356" y="3044782"/>
            <a:ext cx="957144" cy="957144"/>
          </a:xfrm>
          <a:prstGeom prst="rect">
            <a:avLst/>
          </a:prstGeom>
        </p:spPr>
      </p:pic>
    </p:spTree>
    <p:extLst>
      <p:ext uri="{BB962C8B-B14F-4D97-AF65-F5344CB8AC3E}">
        <p14:creationId xmlns:p14="http://schemas.microsoft.com/office/powerpoint/2010/main" val="161787778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007-FCCD-4CDA-A543-235BA547DD2F}"/>
              </a:ext>
            </a:extLst>
          </p:cNvPr>
          <p:cNvSpPr>
            <a:spLocks noGrp="1"/>
          </p:cNvSpPr>
          <p:nvPr>
            <p:ph type="title"/>
          </p:nvPr>
        </p:nvSpPr>
        <p:spPr>
          <a:xfrm>
            <a:off x="465138" y="632779"/>
            <a:ext cx="11533187" cy="411162"/>
          </a:xfrm>
        </p:spPr>
        <p:txBody>
          <a:bodyPr/>
          <a:lstStyle/>
          <a:p>
            <a:r>
              <a:rPr lang="en-US"/>
              <a:t>Artifact repositories</a:t>
            </a:r>
          </a:p>
        </p:txBody>
      </p:sp>
      <p:sp>
        <p:nvSpPr>
          <p:cNvPr id="23" name="TextBox 22">
            <a:extLst>
              <a:ext uri="{FF2B5EF4-FFF2-40B4-BE49-F238E27FC236}">
                <a16:creationId xmlns:a16="http://schemas.microsoft.com/office/drawing/2014/main" id="{B59AB718-3D54-45FE-84E5-567C10595888}"/>
              </a:ext>
            </a:extLst>
          </p:cNvPr>
          <p:cNvSpPr txBox="1"/>
          <p:nvPr/>
        </p:nvSpPr>
        <p:spPr>
          <a:xfrm>
            <a:off x="466344" y="1188720"/>
            <a:ext cx="11116056" cy="332399"/>
          </a:xfrm>
          <a:prstGeom prst="rect">
            <a:avLst/>
          </a:prstGeom>
          <a:noFill/>
        </p:spPr>
        <p:txBody>
          <a:bodyPr wrap="square" lIns="0" tIns="0" rIns="0" bIns="0" rtlCol="0">
            <a:spAutoFit/>
          </a:bodyPr>
          <a:lstStyle/>
          <a:p>
            <a:pPr>
              <a:lnSpc>
                <a:spcPct val="90000"/>
              </a:lnSpc>
              <a:spcAft>
                <a:spcPts val="600"/>
              </a:spcAft>
            </a:pPr>
            <a:r>
              <a:rPr lang="en-US" sz="2400">
                <a:latin typeface="+mj-lt"/>
              </a:rPr>
              <a:t>Artifact repositories are centralized package storages within a company:</a:t>
            </a:r>
          </a:p>
        </p:txBody>
      </p:sp>
      <p:pic>
        <p:nvPicPr>
          <p:cNvPr id="25" name="Picture 24" descr="Icon of a series of circles arranged in a circular pattern">
            <a:extLst>
              <a:ext uri="{FF2B5EF4-FFF2-40B4-BE49-F238E27FC236}">
                <a16:creationId xmlns:a16="http://schemas.microsoft.com/office/drawing/2014/main" id="{E12A5BCF-7FF5-4C07-8F63-15E86DCA8356}"/>
              </a:ext>
            </a:extLst>
          </p:cNvPr>
          <p:cNvPicPr>
            <a:picLocks noChangeAspect="1"/>
          </p:cNvPicPr>
          <p:nvPr/>
        </p:nvPicPr>
        <p:blipFill>
          <a:blip r:embed="rId2"/>
          <a:stretch>
            <a:fillRect/>
          </a:stretch>
        </p:blipFill>
        <p:spPr>
          <a:xfrm>
            <a:off x="425450" y="2138363"/>
            <a:ext cx="1162050" cy="1160194"/>
          </a:xfrm>
          <a:prstGeom prst="rect">
            <a:avLst/>
          </a:prstGeom>
        </p:spPr>
      </p:pic>
      <p:sp>
        <p:nvSpPr>
          <p:cNvPr id="30" name="TextBox 29">
            <a:extLst>
              <a:ext uri="{FF2B5EF4-FFF2-40B4-BE49-F238E27FC236}">
                <a16:creationId xmlns:a16="http://schemas.microsoft.com/office/drawing/2014/main" id="{39630528-10D0-4E8E-98AB-2CA331735D4A}"/>
              </a:ext>
            </a:extLst>
          </p:cNvPr>
          <p:cNvSpPr txBox="1">
            <a:spLocks/>
          </p:cNvSpPr>
          <p:nvPr/>
        </p:nvSpPr>
        <p:spPr>
          <a:xfrm>
            <a:off x="1866900" y="2138363"/>
            <a:ext cx="8482992" cy="2139047"/>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Segoe UI Semibold"/>
                <a:ea typeface="+mn-ea"/>
                <a:cs typeface="+mn-cs"/>
              </a:rPr>
              <a:t>Similar to package feeds facilitates in:</a:t>
            </a:r>
          </a:p>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Proxying external package sources</a:t>
            </a:r>
          </a:p>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Creating a single (internal) repository for packages</a:t>
            </a:r>
          </a:p>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Providing overview of packages in use</a:t>
            </a:r>
          </a:p>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Scanning packages</a:t>
            </a:r>
          </a:p>
        </p:txBody>
      </p:sp>
    </p:spTree>
    <p:extLst>
      <p:ext uri="{BB962C8B-B14F-4D97-AF65-F5344CB8AC3E}">
        <p14:creationId xmlns:p14="http://schemas.microsoft.com/office/powerpoint/2010/main" val="154845564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4CD0-04CA-47E4-83FB-ADD4927E3DA6}"/>
              </a:ext>
            </a:extLst>
          </p:cNvPr>
          <p:cNvSpPr>
            <a:spLocks noGrp="1"/>
          </p:cNvSpPr>
          <p:nvPr>
            <p:ph type="title"/>
          </p:nvPr>
        </p:nvSpPr>
        <p:spPr>
          <a:xfrm>
            <a:off x="465138" y="632779"/>
            <a:ext cx="11533187" cy="411162"/>
          </a:xfrm>
        </p:spPr>
        <p:txBody>
          <a:bodyPr/>
          <a:lstStyle/>
          <a:p>
            <a:r>
              <a:rPr lang="en-US" b="1"/>
              <a:t>Tools for assessing package security and license rating</a:t>
            </a:r>
            <a:endParaRPr lang="en-US"/>
          </a:p>
        </p:txBody>
      </p:sp>
      <p:sp>
        <p:nvSpPr>
          <p:cNvPr id="3" name="Rectangle 2">
            <a:extLst>
              <a:ext uri="{FF2B5EF4-FFF2-40B4-BE49-F238E27FC236}">
                <a16:creationId xmlns:a16="http://schemas.microsoft.com/office/drawing/2014/main" id="{41E4461E-087D-47BF-893D-EC653D1CBA14}"/>
              </a:ext>
            </a:extLst>
          </p:cNvPr>
          <p:cNvSpPr>
            <a:spLocks/>
          </p:cNvSpPr>
          <p:nvPr/>
        </p:nvSpPr>
        <p:spPr bwMode="auto">
          <a:xfrm>
            <a:off x="427036" y="1757363"/>
            <a:ext cx="5706722" cy="1128712"/>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marL="0" lvl="1">
              <a:defRPr/>
            </a:pPr>
            <a:r>
              <a:rPr lang="en-US" sz="2400">
                <a:solidFill>
                  <a:schemeClr val="tx1"/>
                </a:solidFill>
                <a:latin typeface="+mj-lt"/>
              </a:rPr>
              <a:t>Approach 1: </a:t>
            </a:r>
            <a:br>
              <a:rPr lang="en-US" sz="2400">
                <a:solidFill>
                  <a:schemeClr val="tx1"/>
                </a:solidFill>
                <a:latin typeface="+mj-lt"/>
              </a:rPr>
            </a:br>
            <a:r>
              <a:rPr lang="en-US" sz="2400">
                <a:solidFill>
                  <a:schemeClr val="tx1"/>
                </a:solidFill>
              </a:rPr>
              <a:t>Scan centralized artifact repository</a:t>
            </a:r>
          </a:p>
        </p:txBody>
      </p:sp>
      <p:sp>
        <p:nvSpPr>
          <p:cNvPr id="4" name="Rectangle 3">
            <a:extLst>
              <a:ext uri="{FF2B5EF4-FFF2-40B4-BE49-F238E27FC236}">
                <a16:creationId xmlns:a16="http://schemas.microsoft.com/office/drawing/2014/main" id="{C60F0A18-759E-40B7-B2C2-95512B674A3F}"/>
              </a:ext>
            </a:extLst>
          </p:cNvPr>
          <p:cNvSpPr>
            <a:spLocks/>
          </p:cNvSpPr>
          <p:nvPr/>
        </p:nvSpPr>
        <p:spPr bwMode="auto">
          <a:xfrm>
            <a:off x="6291602" y="1757363"/>
            <a:ext cx="5706722" cy="1128712"/>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lvl="0">
              <a:defRPr/>
            </a:pPr>
            <a:r>
              <a:rPr lang="en-US" sz="2400">
                <a:solidFill>
                  <a:schemeClr val="tx1"/>
                </a:solidFill>
                <a:latin typeface="+mj-lt"/>
              </a:rPr>
              <a:t>Approach 2: </a:t>
            </a:r>
            <a:br>
              <a:rPr lang="en-US" sz="2400">
                <a:solidFill>
                  <a:schemeClr val="tx1"/>
                </a:solidFill>
                <a:latin typeface="+mj-lt"/>
              </a:rPr>
            </a:br>
            <a:r>
              <a:rPr lang="en-US" sz="2400">
                <a:solidFill>
                  <a:schemeClr val="tx1"/>
                </a:solidFill>
              </a:rPr>
              <a:t>Tooling during build in pipeline</a:t>
            </a:r>
          </a:p>
        </p:txBody>
      </p:sp>
      <p:graphicFrame>
        <p:nvGraphicFramePr>
          <p:cNvPr id="5" name="Table 4">
            <a:extLst>
              <a:ext uri="{FF2B5EF4-FFF2-40B4-BE49-F238E27FC236}">
                <a16:creationId xmlns:a16="http://schemas.microsoft.com/office/drawing/2014/main" id="{6522225A-E34C-4DAE-8DEB-8A8D135B0F34}"/>
              </a:ext>
            </a:extLst>
          </p:cNvPr>
          <p:cNvGraphicFramePr>
            <a:graphicFrameLocks noGrp="1"/>
          </p:cNvGraphicFramePr>
          <p:nvPr>
            <p:extLst>
              <p:ext uri="{D42A27DB-BD31-4B8C-83A1-F6EECF244321}">
                <p14:modId xmlns:p14="http://schemas.microsoft.com/office/powerpoint/2010/main" val="3964838128"/>
              </p:ext>
            </p:extLst>
          </p:nvPr>
        </p:nvGraphicFramePr>
        <p:xfrm>
          <a:off x="427038" y="3040061"/>
          <a:ext cx="11571288" cy="2377440"/>
        </p:xfrm>
        <a:graphic>
          <a:graphicData uri="http://schemas.openxmlformats.org/drawingml/2006/table">
            <a:tbl>
              <a:tblPr firstRow="1" firstCol="1" bandRow="1">
                <a:tableStyleId>{B301B821-A1FF-4177-AEE7-76D212191A09}</a:tableStyleId>
              </a:tblPr>
              <a:tblGrid>
                <a:gridCol w="5785644">
                  <a:extLst>
                    <a:ext uri="{9D8B030D-6E8A-4147-A177-3AD203B41FA5}">
                      <a16:colId xmlns:a16="http://schemas.microsoft.com/office/drawing/2014/main" val="1345882144"/>
                    </a:ext>
                  </a:extLst>
                </a:gridCol>
                <a:gridCol w="5785644">
                  <a:extLst>
                    <a:ext uri="{9D8B030D-6E8A-4147-A177-3AD203B41FA5}">
                      <a16:colId xmlns:a16="http://schemas.microsoft.com/office/drawing/2014/main" val="1086091707"/>
                    </a:ext>
                  </a:extLst>
                </a:gridCol>
              </a:tblGrid>
              <a:tr h="0">
                <a:tc>
                  <a:txBody>
                    <a:bodyPr/>
                    <a:lstStyle/>
                    <a:p>
                      <a:pPr marL="0" marR="0" algn="just">
                        <a:lnSpc>
                          <a:spcPct val="100000"/>
                        </a:lnSpc>
                        <a:spcBef>
                          <a:spcPts val="0"/>
                        </a:spcBef>
                        <a:spcAft>
                          <a:spcPts val="0"/>
                        </a:spcAft>
                      </a:pPr>
                      <a:r>
                        <a:rPr lang="en-US" sz="2400" b="0">
                          <a:solidFill>
                            <a:schemeClr val="bg1"/>
                          </a:solidFill>
                          <a:effectLst/>
                          <a:latin typeface="+mj-lt"/>
                          <a:cs typeface="Segoe UI Semibold" panose="020B0702040204020203" pitchFamily="34" charset="0"/>
                        </a:rPr>
                        <a:t>Tool</a:t>
                      </a:r>
                      <a:endParaRPr lang="en-US" sz="2400" b="0">
                        <a:solidFill>
                          <a:schemeClr val="bg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rgbClr val="243A5E"/>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243A5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marL="0" marR="0" algn="just">
                        <a:lnSpc>
                          <a:spcPct val="100000"/>
                        </a:lnSpc>
                        <a:spcBef>
                          <a:spcPts val="0"/>
                        </a:spcBef>
                        <a:spcAft>
                          <a:spcPts val="0"/>
                        </a:spcAft>
                      </a:pPr>
                      <a:r>
                        <a:rPr lang="en-US" sz="2400" b="0">
                          <a:solidFill>
                            <a:schemeClr val="bg1"/>
                          </a:solidFill>
                          <a:effectLst/>
                          <a:latin typeface="+mj-lt"/>
                          <a:cs typeface="Segoe UI Semibold" panose="020B0702040204020203" pitchFamily="34" charset="0"/>
                        </a:rPr>
                        <a:t>Type</a:t>
                      </a:r>
                      <a:endParaRPr lang="en-US" sz="2400" b="0">
                        <a:solidFill>
                          <a:schemeClr val="bg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389416738"/>
                  </a:ext>
                </a:extLst>
              </a:tr>
              <a:tr h="412932">
                <a:tc>
                  <a:txBody>
                    <a:bodyPr/>
                    <a:lstStyle/>
                    <a:p>
                      <a:pPr marL="0" marR="0" algn="just" defTabSz="932742" rtl="0" eaLnBrk="1" latinLnBrk="0" hangingPunct="1">
                        <a:lnSpc>
                          <a:spcPct val="100000"/>
                        </a:lnSpc>
                        <a:spcBef>
                          <a:spcPts val="0"/>
                        </a:spcBef>
                        <a:spcAft>
                          <a:spcPts val="0"/>
                        </a:spcAft>
                      </a:pPr>
                      <a:r>
                        <a:rPr lang="en-US" sz="2000" b="0" kern="1200">
                          <a:solidFill>
                            <a:schemeClr val="tx1"/>
                          </a:solidFill>
                          <a:effectLst/>
                          <a:latin typeface="+mn-lt"/>
                          <a:ea typeface="Calibri" panose="020F0502020204030204" pitchFamily="34" charset="0"/>
                          <a:cs typeface="Segoe UI Semilight" panose="020B0402040204020203" pitchFamily="34" charset="0"/>
                        </a:rPr>
                        <a:t>Artifactory</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a:solidFill>
                            <a:schemeClr val="tx1"/>
                          </a:solidFill>
                          <a:effectLst/>
                          <a:latin typeface="+mn-lt"/>
                          <a:cs typeface="Segoe UI Semibold" panose="020B0702040204020203" pitchFamily="34" charset="0"/>
                        </a:rPr>
                        <a:t>Artifact repository</a:t>
                      </a:r>
                      <a:endParaRPr lang="en-US" sz="2000" b="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524992"/>
                  </a:ext>
                </a:extLst>
              </a:tr>
              <a:tr h="457200">
                <a:tc>
                  <a:txBody>
                    <a:bodyPr/>
                    <a:lstStyle/>
                    <a:p>
                      <a:pPr marL="0" marR="0" algn="just">
                        <a:lnSpc>
                          <a:spcPct val="100000"/>
                        </a:lnSpc>
                        <a:spcBef>
                          <a:spcPts val="0"/>
                        </a:spcBef>
                        <a:spcAft>
                          <a:spcPts val="0"/>
                        </a:spcAft>
                      </a:pPr>
                      <a:r>
                        <a:rPr lang="en-US" sz="2000" b="0" dirty="0">
                          <a:solidFill>
                            <a:schemeClr val="tx1"/>
                          </a:solidFill>
                          <a:effectLst/>
                          <a:latin typeface="+mn-lt"/>
                          <a:ea typeface="Calibri" panose="020F0502020204030204" pitchFamily="34" charset="0"/>
                          <a:cs typeface="Segoe UI Semilight" panose="020B0402040204020203" pitchFamily="34" charset="0"/>
                        </a:rPr>
                        <a:t>SonarQube</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kern="1200" dirty="0">
                          <a:solidFill>
                            <a:schemeClr val="tx1"/>
                          </a:solidFill>
                          <a:effectLst/>
                          <a:latin typeface="+mn-lt"/>
                          <a:ea typeface="+mn-ea"/>
                          <a:cs typeface="Segoe UI Semibold" panose="020B0702040204020203" pitchFamily="34" charset="0"/>
                        </a:rPr>
                        <a:t>Static code analysis tool</a:t>
                      </a:r>
                      <a:endParaRPr lang="en-US" sz="2000" b="0" kern="1200" dirty="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150387"/>
                  </a:ext>
                </a:extLst>
              </a:tr>
              <a:tr h="457200">
                <a:tc>
                  <a:txBody>
                    <a:bodyPr/>
                    <a:lstStyle/>
                    <a:p>
                      <a:pPr marL="0" marR="0" algn="just">
                        <a:lnSpc>
                          <a:spcPct val="100000"/>
                        </a:lnSpc>
                        <a:spcBef>
                          <a:spcPts val="0"/>
                        </a:spcBef>
                        <a:spcAft>
                          <a:spcPts val="0"/>
                        </a:spcAft>
                      </a:pPr>
                      <a:r>
                        <a:rPr lang="en-US" sz="2000" b="0">
                          <a:solidFill>
                            <a:schemeClr val="tx1"/>
                          </a:solidFill>
                          <a:effectLst/>
                          <a:latin typeface="+mn-lt"/>
                          <a:ea typeface="Calibri" panose="020F0502020204030204" pitchFamily="34" charset="0"/>
                          <a:cs typeface="Segoe UI Semilight" panose="020B0402040204020203" pitchFamily="34" charset="0"/>
                        </a:rPr>
                        <a:t>White Source(Bolt)</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dirty="0">
                          <a:solidFill>
                            <a:schemeClr val="tx1"/>
                          </a:solidFill>
                          <a:effectLst/>
                          <a:latin typeface="+mn-lt"/>
                          <a:ea typeface="Calibri" panose="020F0502020204030204" pitchFamily="34" charset="0"/>
                          <a:cs typeface="Segoe UI Semilight" panose="020B0402040204020203" pitchFamily="34" charset="0"/>
                        </a:rPr>
                        <a:t>Build scanning</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13303"/>
                  </a:ext>
                </a:extLst>
              </a:tr>
            </a:tbl>
          </a:graphicData>
        </a:graphic>
      </p:graphicFrame>
    </p:spTree>
    <p:extLst>
      <p:ext uri="{BB962C8B-B14F-4D97-AF65-F5344CB8AC3E}">
        <p14:creationId xmlns:p14="http://schemas.microsoft.com/office/powerpoint/2010/main" val="16052441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A83E9-9D3F-4D27-92C5-3271240ED3D2}"/>
              </a:ext>
            </a:extLst>
          </p:cNvPr>
          <p:cNvSpPr>
            <a:spLocks noGrp="1"/>
          </p:cNvSpPr>
          <p:nvPr>
            <p:ph type="title"/>
          </p:nvPr>
        </p:nvSpPr>
        <p:spPr/>
        <p:txBody>
          <a:bodyPr/>
          <a:lstStyle/>
          <a:p>
            <a:r>
              <a:rPr lang="en-US"/>
              <a:t>White source bolt</a:t>
            </a:r>
          </a:p>
        </p:txBody>
      </p:sp>
      <p:sp>
        <p:nvSpPr>
          <p:cNvPr id="14" name="Rectangle 13">
            <a:extLst>
              <a:ext uri="{FF2B5EF4-FFF2-40B4-BE49-F238E27FC236}">
                <a16:creationId xmlns:a16="http://schemas.microsoft.com/office/drawing/2014/main" id="{2E4F91C2-6DC9-4813-A636-4574EBEBA912}"/>
              </a:ext>
            </a:extLst>
          </p:cNvPr>
          <p:cNvSpPr/>
          <p:nvPr/>
        </p:nvSpPr>
        <p:spPr>
          <a:xfrm>
            <a:off x="5452644" y="3312597"/>
            <a:ext cx="1531188" cy="646331"/>
          </a:xfrm>
          <a:prstGeom prst="rect">
            <a:avLst/>
          </a:prstGeom>
        </p:spPr>
        <p:txBody>
          <a:bodyPr wrap="square">
            <a:spAutoFit/>
          </a:bodyPr>
          <a:lstStyle/>
          <a:p>
            <a:pPr algn="ctr"/>
            <a:r>
              <a:rPr lang="en-US" sz="3600">
                <a:latin typeface="Segoe UI Semibold" panose="020B0702040204020203" pitchFamily="34" charset="0"/>
                <a:cs typeface="Segoe UI Semibold" panose="020B0702040204020203" pitchFamily="34" charset="0"/>
              </a:rPr>
              <a:t>DEMO</a:t>
            </a:r>
            <a:endParaRPr lang="en-US" sz="200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6780337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9437B-AC3D-4BB0-A38A-C1D6EC02E398}"/>
              </a:ext>
            </a:extLst>
          </p:cNvPr>
          <p:cNvSpPr>
            <a:spLocks noGrp="1"/>
          </p:cNvSpPr>
          <p:nvPr>
            <p:ph type="title"/>
          </p:nvPr>
        </p:nvSpPr>
        <p:spPr>
          <a:xfrm>
            <a:off x="465138" y="632779"/>
            <a:ext cx="11533187" cy="411162"/>
          </a:xfrm>
        </p:spPr>
        <p:txBody>
          <a:bodyPr/>
          <a:lstStyle/>
          <a:p>
            <a:r>
              <a:rPr lang="en-US"/>
              <a:t>Interpret alerts from assessment</a:t>
            </a:r>
          </a:p>
        </p:txBody>
      </p:sp>
      <p:sp>
        <p:nvSpPr>
          <p:cNvPr id="4" name="TextBox 3">
            <a:extLst>
              <a:ext uri="{FF2B5EF4-FFF2-40B4-BE49-F238E27FC236}">
                <a16:creationId xmlns:a16="http://schemas.microsoft.com/office/drawing/2014/main" id="{B46ECDF2-0192-413A-A68A-319699E5F8D8}"/>
              </a:ext>
            </a:extLst>
          </p:cNvPr>
          <p:cNvSpPr txBox="1">
            <a:spLocks/>
          </p:cNvSpPr>
          <p:nvPr/>
        </p:nvSpPr>
        <p:spPr>
          <a:xfrm>
            <a:off x="436111" y="1334400"/>
            <a:ext cx="5530738" cy="1757142"/>
          </a:xfrm>
          <a:prstGeom prst="rect">
            <a:avLst/>
          </a:prstGeom>
          <a:solidFill>
            <a:schemeClr val="bg1">
              <a:lumMod val="95000"/>
            </a:schemeClr>
          </a:solidFill>
          <a:ln w="19050">
            <a:noFill/>
          </a:ln>
        </p:spPr>
        <p:txBody>
          <a:bodyPr wrap="square" lIns="182880" tIns="137160" rIns="182880" bIns="137160" rtlCol="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Report Contain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ecurity vulnerabilitie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License risks and compliancy</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utdated libraries</a:t>
            </a:r>
          </a:p>
        </p:txBody>
      </p:sp>
      <p:sp>
        <p:nvSpPr>
          <p:cNvPr id="5" name="TextBox 4">
            <a:extLst>
              <a:ext uri="{FF2B5EF4-FFF2-40B4-BE49-F238E27FC236}">
                <a16:creationId xmlns:a16="http://schemas.microsoft.com/office/drawing/2014/main" id="{21EBEB1D-A6B1-4B4C-80CD-00643B85A30B}"/>
              </a:ext>
            </a:extLst>
          </p:cNvPr>
          <p:cNvSpPr txBox="1">
            <a:spLocks/>
          </p:cNvSpPr>
          <p:nvPr/>
        </p:nvSpPr>
        <p:spPr>
          <a:xfrm>
            <a:off x="6097635" y="1334400"/>
            <a:ext cx="5909763" cy="1757142"/>
          </a:xfrm>
          <a:prstGeom prst="rect">
            <a:avLst/>
          </a:prstGeom>
          <a:solidFill>
            <a:schemeClr val="bg1">
              <a:lumMod val="95000"/>
            </a:schemeClr>
          </a:solidFill>
        </p:spPr>
        <p:txBody>
          <a:bodyPr wrap="square" lIns="182880" tIns="137160" rIns="182880" bIns="137160" rtlCol="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Aspects to keep in mind: </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False positive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ecurity bug bar</a:t>
            </a:r>
          </a:p>
        </p:txBody>
      </p:sp>
      <p:pic>
        <p:nvPicPr>
          <p:cNvPr id="3" name="Picture 2" descr="A screenshot showing security with Vulnerability Score, Vulnerable Libraries, Severity Distribution and Aging Vulnerable Libraries under it">
            <a:extLst>
              <a:ext uri="{FF2B5EF4-FFF2-40B4-BE49-F238E27FC236}">
                <a16:creationId xmlns:a16="http://schemas.microsoft.com/office/drawing/2014/main" id="{23FC5AE4-2558-4B47-8229-2BF461CF26E9}"/>
              </a:ext>
            </a:extLst>
          </p:cNvPr>
          <p:cNvPicPr>
            <a:picLocks noChangeAspect="1"/>
          </p:cNvPicPr>
          <p:nvPr/>
        </p:nvPicPr>
        <p:blipFill rotWithShape="1">
          <a:blip r:embed="rId3"/>
          <a:srcRect l="-514" t="-4054" r="-514"/>
          <a:stretch/>
        </p:blipFill>
        <p:spPr>
          <a:xfrm>
            <a:off x="436110" y="3250521"/>
            <a:ext cx="11571287" cy="2794203"/>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25011323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5: Implement a versioning strategy</a:t>
            </a:r>
          </a:p>
        </p:txBody>
      </p:sp>
      <p:pic>
        <p:nvPicPr>
          <p:cNvPr id="3" name="Picture 2" descr="Icon of a screen with filled chart ">
            <a:extLst>
              <a:ext uri="{FF2B5EF4-FFF2-40B4-BE49-F238E27FC236}">
                <a16:creationId xmlns:a16="http://schemas.microsoft.com/office/drawing/2014/main" id="{E318A819-CFD2-4CDE-967A-FF80F1397F3D}"/>
              </a:ext>
            </a:extLst>
          </p:cNvPr>
          <p:cNvPicPr>
            <a:picLocks noChangeAspect="1"/>
          </p:cNvPicPr>
          <p:nvPr/>
        </p:nvPicPr>
        <p:blipFill>
          <a:blip r:embed="rId2"/>
          <a:stretch>
            <a:fillRect/>
          </a:stretch>
        </p:blipFill>
        <p:spPr>
          <a:xfrm>
            <a:off x="10295586" y="3048000"/>
            <a:ext cx="1208376" cy="906780"/>
          </a:xfrm>
          <a:prstGeom prst="rect">
            <a:avLst/>
          </a:prstGeom>
        </p:spPr>
      </p:pic>
    </p:spTree>
    <p:extLst>
      <p:ext uri="{BB962C8B-B14F-4D97-AF65-F5344CB8AC3E}">
        <p14:creationId xmlns:p14="http://schemas.microsoft.com/office/powerpoint/2010/main" val="296965271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39FC6-8DEE-4203-93C4-77E934DBFAA4}"/>
              </a:ext>
            </a:extLst>
          </p:cNvPr>
          <p:cNvSpPr>
            <a:spLocks noGrp="1"/>
          </p:cNvSpPr>
          <p:nvPr>
            <p:ph type="title"/>
          </p:nvPr>
        </p:nvSpPr>
        <p:spPr/>
        <p:txBody>
          <a:bodyPr/>
          <a:lstStyle/>
          <a:p>
            <a:r>
              <a:rPr lang="en-US"/>
              <a:t>Introduction to versioning</a:t>
            </a:r>
          </a:p>
        </p:txBody>
      </p:sp>
      <p:sp>
        <p:nvSpPr>
          <p:cNvPr id="17" name="TextBox 16">
            <a:extLst>
              <a:ext uri="{FF2B5EF4-FFF2-40B4-BE49-F238E27FC236}">
                <a16:creationId xmlns:a16="http://schemas.microsoft.com/office/drawing/2014/main" id="{6CBB3385-482C-43E5-BE80-42447A71A8D4}"/>
              </a:ext>
            </a:extLst>
          </p:cNvPr>
          <p:cNvSpPr txBox="1"/>
          <p:nvPr/>
        </p:nvSpPr>
        <p:spPr>
          <a:xfrm>
            <a:off x="429768" y="1188720"/>
            <a:ext cx="7698232" cy="332399"/>
          </a:xfrm>
          <a:prstGeom prst="rect">
            <a:avLst/>
          </a:prstGeom>
          <a:noFill/>
        </p:spPr>
        <p:txBody>
          <a:bodyPr wrap="square" lIns="0" tIns="0" rIns="0" bIns="0" rtlCol="0">
            <a:spAutoFit/>
          </a:bodyPr>
          <a:lstStyle/>
          <a:p>
            <a:pPr>
              <a:lnSpc>
                <a:spcPct val="90000"/>
              </a:lnSpc>
              <a:spcAft>
                <a:spcPts val="600"/>
              </a:spcAft>
            </a:pPr>
            <a:r>
              <a:rPr lang="en-US" sz="2400">
                <a:latin typeface="+mj-lt"/>
              </a:rPr>
              <a:t>Software changes: Your code and dependencies alike:</a:t>
            </a:r>
          </a:p>
        </p:txBody>
      </p:sp>
      <p:pic>
        <p:nvPicPr>
          <p:cNvPr id="19" name="Picture 18" descr="Icon of five circles connected by lines">
            <a:extLst>
              <a:ext uri="{FF2B5EF4-FFF2-40B4-BE49-F238E27FC236}">
                <a16:creationId xmlns:a16="http://schemas.microsoft.com/office/drawing/2014/main" id="{2228953A-8867-4D73-A948-D5A5B24F6961}"/>
              </a:ext>
            </a:extLst>
          </p:cNvPr>
          <p:cNvPicPr>
            <a:picLocks noChangeAspect="1"/>
          </p:cNvPicPr>
          <p:nvPr/>
        </p:nvPicPr>
        <p:blipFill>
          <a:blip r:embed="rId2"/>
          <a:stretch>
            <a:fillRect/>
          </a:stretch>
        </p:blipFill>
        <p:spPr>
          <a:xfrm>
            <a:off x="425449" y="2138362"/>
            <a:ext cx="1162049" cy="1160193"/>
          </a:xfrm>
          <a:prstGeom prst="rect">
            <a:avLst/>
          </a:prstGeom>
        </p:spPr>
      </p:pic>
      <p:sp>
        <p:nvSpPr>
          <p:cNvPr id="20" name="TextBox 19">
            <a:extLst>
              <a:ext uri="{FF2B5EF4-FFF2-40B4-BE49-F238E27FC236}">
                <a16:creationId xmlns:a16="http://schemas.microsoft.com/office/drawing/2014/main" id="{C6A7215A-1280-419B-860B-B27C61890923}"/>
              </a:ext>
            </a:extLst>
          </p:cNvPr>
          <p:cNvSpPr txBox="1">
            <a:spLocks/>
          </p:cNvSpPr>
          <p:nvPr/>
        </p:nvSpPr>
        <p:spPr>
          <a:xfrm>
            <a:off x="1866900" y="2138363"/>
            <a:ext cx="6089361" cy="1646605"/>
          </a:xfrm>
          <a:prstGeom prst="rect">
            <a:avLst/>
          </a:prstGeom>
          <a:noFill/>
        </p:spPr>
        <p:txBody>
          <a:bodyPr wrap="square" lIns="0" tIns="0" rIns="0" bIns="0" rtlCol="0">
            <a:spAutoFit/>
          </a:bodyPr>
          <a:lstStyle/>
          <a:p>
            <a:pPr marL="0" marR="0" lvl="0" indent="0" algn="l" defTabSz="932742" rtl="0" eaLnBrk="1" fontAlgn="auto" latinLnBrk="0" hangingPunct="1">
              <a:spcBef>
                <a:spcPts val="0"/>
              </a:spcBef>
              <a:spcAft>
                <a:spcPts val="0"/>
              </a:spcAft>
              <a:buClrTx/>
              <a:buSzTx/>
              <a:buFontTx/>
              <a:buNone/>
              <a:tabLst/>
              <a:defRPr/>
            </a:pPr>
            <a:r>
              <a:rPr kumimoji="0" lang="en-US" sz="2200" b="0" i="0" u="none" strike="noStrike" kern="1200" cap="none" normalizeH="0" baseline="0" noProof="0">
                <a:ln>
                  <a:noFill/>
                </a:ln>
                <a:effectLst/>
                <a:uLnTx/>
                <a:uFillTx/>
                <a:latin typeface="+mj-lt"/>
                <a:ea typeface="+mn-ea"/>
                <a:cs typeface="+mn-cs"/>
              </a:rPr>
              <a:t>Packages need to be versioned </a:t>
            </a:r>
            <a:endParaRPr lang="en-US" sz="2200"/>
          </a:p>
          <a:p>
            <a:pPr>
              <a:spcBef>
                <a:spcPts val="600"/>
              </a:spcBef>
              <a:spcAft>
                <a:spcPts val="600"/>
              </a:spcAft>
            </a:pPr>
            <a:r>
              <a:rPr lang="en-US" sz="2000"/>
              <a:t>Identification</a:t>
            </a:r>
          </a:p>
          <a:p>
            <a:pPr>
              <a:spcBef>
                <a:spcPts val="600"/>
              </a:spcBef>
              <a:spcAft>
                <a:spcPts val="600"/>
              </a:spcAft>
            </a:pPr>
            <a:r>
              <a:rPr lang="en-US" sz="2000"/>
              <a:t>Maintainability</a:t>
            </a:r>
          </a:p>
          <a:p>
            <a:pPr>
              <a:spcBef>
                <a:spcPts val="600"/>
              </a:spcBef>
              <a:spcAft>
                <a:spcPts val="600"/>
              </a:spcAft>
            </a:pPr>
            <a:r>
              <a:rPr lang="en-US" sz="2000"/>
              <a:t>Each package has its own lifecycle and rate of change</a:t>
            </a:r>
          </a:p>
        </p:txBody>
      </p:sp>
    </p:spTree>
    <p:extLst>
      <p:ext uri="{BB962C8B-B14F-4D97-AF65-F5344CB8AC3E}">
        <p14:creationId xmlns:p14="http://schemas.microsoft.com/office/powerpoint/2010/main" val="212267588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35A66-F610-4B83-9188-7E704542C7EA}"/>
              </a:ext>
            </a:extLst>
          </p:cNvPr>
          <p:cNvSpPr>
            <a:spLocks noGrp="1"/>
          </p:cNvSpPr>
          <p:nvPr>
            <p:ph type="title"/>
          </p:nvPr>
        </p:nvSpPr>
        <p:spPr/>
        <p:txBody>
          <a:bodyPr/>
          <a:lstStyle/>
          <a:p>
            <a:r>
              <a:rPr lang="en-US"/>
              <a:t>Immutable packages</a:t>
            </a:r>
          </a:p>
        </p:txBody>
      </p:sp>
      <p:sp>
        <p:nvSpPr>
          <p:cNvPr id="13" name="TextBox 12">
            <a:extLst>
              <a:ext uri="{FF2B5EF4-FFF2-40B4-BE49-F238E27FC236}">
                <a16:creationId xmlns:a16="http://schemas.microsoft.com/office/drawing/2014/main" id="{63447DC5-67F7-4275-B7F0-9186EF33CA7B}"/>
              </a:ext>
            </a:extLst>
          </p:cNvPr>
          <p:cNvSpPr txBox="1"/>
          <p:nvPr/>
        </p:nvSpPr>
        <p:spPr>
          <a:xfrm>
            <a:off x="429767" y="1188720"/>
            <a:ext cx="3910003" cy="332399"/>
          </a:xfrm>
          <a:prstGeom prst="rect">
            <a:avLst/>
          </a:prstGeom>
          <a:noFill/>
        </p:spPr>
        <p:txBody>
          <a:bodyPr wrap="square" lIns="0" tIns="0" rIns="0" bIns="0" rtlCol="0">
            <a:spAutoFit/>
          </a:bodyPr>
          <a:lstStyle/>
          <a:p>
            <a:pPr>
              <a:lnSpc>
                <a:spcPct val="90000"/>
              </a:lnSpc>
              <a:spcAft>
                <a:spcPts val="600"/>
              </a:spcAft>
            </a:pPr>
            <a:r>
              <a:rPr lang="en-US" sz="2400">
                <a:latin typeface="+mj-lt"/>
              </a:rPr>
              <a:t>Packages are immutable</a:t>
            </a:r>
          </a:p>
        </p:txBody>
      </p:sp>
      <p:pic>
        <p:nvPicPr>
          <p:cNvPr id="4" name="Picture 3" descr="Icon of five circles connected by lines">
            <a:extLst>
              <a:ext uri="{FF2B5EF4-FFF2-40B4-BE49-F238E27FC236}">
                <a16:creationId xmlns:a16="http://schemas.microsoft.com/office/drawing/2014/main" id="{6DA89143-C3EE-41D0-8408-214FF26AEF22}"/>
              </a:ext>
            </a:extLst>
          </p:cNvPr>
          <p:cNvPicPr>
            <a:picLocks noChangeAspect="1"/>
          </p:cNvPicPr>
          <p:nvPr/>
        </p:nvPicPr>
        <p:blipFill>
          <a:blip r:embed="rId2"/>
          <a:stretch>
            <a:fillRect/>
          </a:stretch>
        </p:blipFill>
        <p:spPr>
          <a:xfrm>
            <a:off x="425449" y="2138362"/>
            <a:ext cx="1162049" cy="1160193"/>
          </a:xfrm>
          <a:prstGeom prst="rect">
            <a:avLst/>
          </a:prstGeom>
        </p:spPr>
      </p:pic>
      <p:sp>
        <p:nvSpPr>
          <p:cNvPr id="5" name="TextBox 4">
            <a:extLst>
              <a:ext uri="{FF2B5EF4-FFF2-40B4-BE49-F238E27FC236}">
                <a16:creationId xmlns:a16="http://schemas.microsoft.com/office/drawing/2014/main" id="{DC1947C2-971C-4ADC-81AA-B39276CBE669}"/>
              </a:ext>
            </a:extLst>
          </p:cNvPr>
          <p:cNvSpPr txBox="1">
            <a:spLocks/>
          </p:cNvSpPr>
          <p:nvPr/>
        </p:nvSpPr>
        <p:spPr>
          <a:xfrm>
            <a:off x="1866900" y="2138363"/>
            <a:ext cx="6089361" cy="1646605"/>
          </a:xfrm>
          <a:prstGeom prst="rect">
            <a:avLst/>
          </a:prstGeom>
          <a:noFill/>
        </p:spPr>
        <p:txBody>
          <a:bodyPr wrap="square" lIns="0" tIns="0" rIns="0" bIns="0" rtlCol="0">
            <a:spAutoFit/>
          </a:bodyPr>
          <a:lstStyle/>
          <a:p>
            <a:pPr lvl="0">
              <a:defRPr/>
            </a:pPr>
            <a:r>
              <a:rPr lang="en-US" sz="2200">
                <a:latin typeface="+mj-lt"/>
              </a:rPr>
              <a:t>Packages are immutable</a:t>
            </a:r>
          </a:p>
          <a:p>
            <a:pPr>
              <a:spcBef>
                <a:spcPts val="600"/>
              </a:spcBef>
              <a:spcAft>
                <a:spcPts val="600"/>
              </a:spcAft>
            </a:pPr>
            <a:r>
              <a:rPr lang="en-US" sz="2000"/>
              <a:t>Once published a package cannot be changed</a:t>
            </a:r>
          </a:p>
          <a:p>
            <a:pPr>
              <a:spcBef>
                <a:spcPts val="600"/>
              </a:spcBef>
              <a:spcAft>
                <a:spcPts val="600"/>
              </a:spcAft>
            </a:pPr>
            <a:r>
              <a:rPr lang="en-US" sz="2000"/>
              <a:t>Replacing or updating a package is not allowed</a:t>
            </a:r>
          </a:p>
          <a:p>
            <a:pPr>
              <a:spcBef>
                <a:spcPts val="600"/>
              </a:spcBef>
              <a:spcAft>
                <a:spcPts val="600"/>
              </a:spcAft>
            </a:pPr>
            <a:r>
              <a:rPr lang="en-US" sz="2000"/>
              <a:t>Any change requires a new version</a:t>
            </a:r>
          </a:p>
        </p:txBody>
      </p:sp>
    </p:spTree>
    <p:extLst>
      <p:ext uri="{BB962C8B-B14F-4D97-AF65-F5344CB8AC3E}">
        <p14:creationId xmlns:p14="http://schemas.microsoft.com/office/powerpoint/2010/main" val="13833096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ED86-CEFB-41E7-A879-B7A00DC930D3}"/>
              </a:ext>
            </a:extLst>
          </p:cNvPr>
          <p:cNvSpPr>
            <a:spLocks noGrp="1"/>
          </p:cNvSpPr>
          <p:nvPr>
            <p:ph type="title"/>
          </p:nvPr>
        </p:nvSpPr>
        <p:spPr>
          <a:xfrm>
            <a:off x="437142" y="632779"/>
            <a:ext cx="8502559" cy="411162"/>
          </a:xfrm>
        </p:spPr>
        <p:txBody>
          <a:bodyPr/>
          <a:lstStyle/>
          <a:p>
            <a:r>
              <a:rPr lang="en-US"/>
              <a:t>Versioning of artifacts</a:t>
            </a:r>
          </a:p>
        </p:txBody>
      </p:sp>
      <p:sp>
        <p:nvSpPr>
          <p:cNvPr id="5" name="TextBox 4">
            <a:extLst>
              <a:ext uri="{FF2B5EF4-FFF2-40B4-BE49-F238E27FC236}">
                <a16:creationId xmlns:a16="http://schemas.microsoft.com/office/drawing/2014/main" id="{ADE23048-93A3-4125-8313-9DDD49076315}"/>
              </a:ext>
            </a:extLst>
          </p:cNvPr>
          <p:cNvSpPr txBox="1">
            <a:spLocks/>
          </p:cNvSpPr>
          <p:nvPr/>
        </p:nvSpPr>
        <p:spPr>
          <a:xfrm>
            <a:off x="427037" y="1376598"/>
            <a:ext cx="5745163" cy="1092200"/>
          </a:xfrm>
          <a:prstGeom prst="rect">
            <a:avLst/>
          </a:prstGeom>
          <a:solidFill>
            <a:schemeClr val="bg1">
              <a:lumMod val="95000"/>
            </a:schemeClr>
          </a:solidFill>
        </p:spPr>
        <p:txBody>
          <a:bodyPr wrap="square" lIns="182880" tIns="137160" rIns="182880" bIns="137160" rtlCol="0" anchor="ctr">
            <a:noAutofit/>
          </a:bodyPr>
          <a:lstStyle/>
          <a:p>
            <a:r>
              <a:rPr lang="en-US" sz="2400">
                <a:latin typeface="+mj-lt"/>
              </a:rPr>
              <a:t>Way to express version technically varies per package type</a:t>
            </a:r>
          </a:p>
        </p:txBody>
      </p:sp>
      <p:sp>
        <p:nvSpPr>
          <p:cNvPr id="6" name="TextBox 5">
            <a:extLst>
              <a:ext uri="{FF2B5EF4-FFF2-40B4-BE49-F238E27FC236}">
                <a16:creationId xmlns:a16="http://schemas.microsoft.com/office/drawing/2014/main" id="{F332CE28-6350-4E66-ABBA-371CBB613068}"/>
              </a:ext>
            </a:extLst>
          </p:cNvPr>
          <p:cNvSpPr txBox="1">
            <a:spLocks/>
          </p:cNvSpPr>
          <p:nvPr/>
        </p:nvSpPr>
        <p:spPr>
          <a:xfrm>
            <a:off x="6337110" y="1376597"/>
            <a:ext cx="5745165" cy="1092200"/>
          </a:xfrm>
          <a:prstGeom prst="rect">
            <a:avLst/>
          </a:prstGeom>
          <a:solidFill>
            <a:schemeClr val="bg1">
              <a:lumMod val="95000"/>
            </a:schemeClr>
          </a:solidFill>
        </p:spPr>
        <p:txBody>
          <a:bodyPr wrap="square" lIns="182880" tIns="137160" rIns="182880" bIns="137160" rtlCol="0" anchor="ctr">
            <a:noAutofit/>
          </a:bodyPr>
          <a:lstStyle/>
          <a:p>
            <a:r>
              <a:rPr lang="en-US" sz="2400">
                <a:latin typeface="+mj-lt"/>
              </a:rPr>
              <a:t>Versioning requires a scheme</a:t>
            </a:r>
          </a:p>
        </p:txBody>
      </p:sp>
      <p:sp>
        <p:nvSpPr>
          <p:cNvPr id="13" name="TextBox 12">
            <a:extLst>
              <a:ext uri="{FF2B5EF4-FFF2-40B4-BE49-F238E27FC236}">
                <a16:creationId xmlns:a16="http://schemas.microsoft.com/office/drawing/2014/main" id="{09B353B8-EB24-4C9B-974B-B56F9BF8F222}"/>
              </a:ext>
            </a:extLst>
          </p:cNvPr>
          <p:cNvSpPr txBox="1">
            <a:spLocks/>
          </p:cNvSpPr>
          <p:nvPr/>
        </p:nvSpPr>
        <p:spPr>
          <a:xfrm>
            <a:off x="427037" y="2643188"/>
            <a:ext cx="11571287" cy="3671887"/>
          </a:xfrm>
          <a:prstGeom prst="rect">
            <a:avLst/>
          </a:prstGeom>
          <a:noFill/>
          <a:ln w="19050">
            <a:solidFill>
              <a:schemeClr val="tx2"/>
            </a:solidFill>
          </a:ln>
        </p:spPr>
        <p:txBody>
          <a:bodyPr wrap="square" lIns="182880" tIns="137160" rIns="182880" bIns="137160" rtlCol="0">
            <a:noAutofit/>
          </a:bodyPr>
          <a:lstStyle>
            <a:defPPr>
              <a:defRPr lang="en-US"/>
            </a:defPPr>
            <a:lvl1pPr defTabSz="932472" fontAlgn="base">
              <a:lnSpc>
                <a:spcPct val="90000"/>
              </a:lnSpc>
              <a:spcBef>
                <a:spcPct val="0"/>
              </a:spcBef>
              <a:spcAft>
                <a:spcPct val="0"/>
              </a:spcAft>
              <a:defRPr sz="2000">
                <a:latin typeface="+mj-lt"/>
                <a:ea typeface="Segoe UI" pitchFamily="34" charset="0"/>
                <a:cs typeface="Segoe UI" pitchFamily="34" charset="0"/>
              </a:defRPr>
            </a:lvl1pPr>
          </a:lstStyle>
          <a:p>
            <a:r>
              <a:rPr lang="en-US"/>
              <a:t>Typical Scheme:</a:t>
            </a:r>
          </a:p>
        </p:txBody>
      </p:sp>
      <p:sp>
        <p:nvSpPr>
          <p:cNvPr id="8" name="TextBox 7">
            <a:extLst>
              <a:ext uri="{FF2B5EF4-FFF2-40B4-BE49-F238E27FC236}">
                <a16:creationId xmlns:a16="http://schemas.microsoft.com/office/drawing/2014/main" id="{A4D1BA75-9DE2-49CA-AC1D-5216A5DA2D9E}"/>
              </a:ext>
            </a:extLst>
          </p:cNvPr>
          <p:cNvSpPr txBox="1"/>
          <p:nvPr/>
        </p:nvSpPr>
        <p:spPr>
          <a:xfrm>
            <a:off x="3799680" y="3643135"/>
            <a:ext cx="4926013" cy="1911292"/>
          </a:xfrm>
          <a:prstGeom prst="rect">
            <a:avLst/>
          </a:prstGeom>
          <a:noFill/>
        </p:spPr>
        <p:txBody>
          <a:bodyPr wrap="square" lIns="0" tIns="0" rIns="0" bIns="0" rtlCol="0">
            <a:spAutoFit/>
          </a:bodyPr>
          <a:lstStyle/>
          <a:p>
            <a:pPr>
              <a:lnSpc>
                <a:spcPct val="90000"/>
              </a:lnSpc>
              <a:spcAft>
                <a:spcPts val="600"/>
              </a:spcAft>
            </a:pPr>
            <a:r>
              <a:rPr lang="en-US" sz="13800"/>
              <a:t>2.1.15</a:t>
            </a:r>
          </a:p>
        </p:txBody>
      </p:sp>
      <p:sp>
        <p:nvSpPr>
          <p:cNvPr id="10" name="Right Brace 9" descr="Arrow pointing downwards">
            <a:extLst>
              <a:ext uri="{FF2B5EF4-FFF2-40B4-BE49-F238E27FC236}">
                <a16:creationId xmlns:a16="http://schemas.microsoft.com/office/drawing/2014/main" id="{24435EC6-C9A1-407F-A49A-68A73A71E4C9}"/>
              </a:ext>
            </a:extLst>
          </p:cNvPr>
          <p:cNvSpPr/>
          <p:nvPr/>
        </p:nvSpPr>
        <p:spPr>
          <a:xfrm rot="5400000">
            <a:off x="4251810" y="4672608"/>
            <a:ext cx="338754" cy="1443037"/>
          </a:xfrm>
          <a:prstGeom prst="rightBrace">
            <a:avLst>
              <a:gd name="adj1" fmla="val 0"/>
              <a:gd name="adj2" fmla="val 5000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E7FA94B2-F23F-4A7D-BC0A-BF37F16F0E0D}"/>
              </a:ext>
            </a:extLst>
          </p:cNvPr>
          <p:cNvSpPr txBox="1"/>
          <p:nvPr/>
        </p:nvSpPr>
        <p:spPr>
          <a:xfrm>
            <a:off x="4089366" y="5728609"/>
            <a:ext cx="663643" cy="276999"/>
          </a:xfrm>
          <a:prstGeom prst="rect">
            <a:avLst/>
          </a:prstGeom>
          <a:noFill/>
        </p:spPr>
        <p:txBody>
          <a:bodyPr wrap="square" lIns="0" tIns="0" rIns="0" bIns="0" rtlCol="0">
            <a:spAutoFit/>
          </a:bodyPr>
          <a:lstStyle/>
          <a:p>
            <a:pPr>
              <a:lnSpc>
                <a:spcPct val="90000"/>
              </a:lnSpc>
              <a:spcAft>
                <a:spcPts val="600"/>
              </a:spcAft>
            </a:pPr>
            <a:r>
              <a:rPr lang="en-US" sz="2000"/>
              <a:t>Major</a:t>
            </a:r>
          </a:p>
        </p:txBody>
      </p:sp>
      <p:sp>
        <p:nvSpPr>
          <p:cNvPr id="26" name="Right Brace 25" descr="Arrow pointing downwards">
            <a:extLst>
              <a:ext uri="{FF2B5EF4-FFF2-40B4-BE49-F238E27FC236}">
                <a16:creationId xmlns:a16="http://schemas.microsoft.com/office/drawing/2014/main" id="{584C81E9-D628-4BF4-862A-35D36CA601F5}"/>
              </a:ext>
            </a:extLst>
          </p:cNvPr>
          <p:cNvSpPr/>
          <p:nvPr/>
        </p:nvSpPr>
        <p:spPr>
          <a:xfrm rot="5400000">
            <a:off x="5832166" y="4787702"/>
            <a:ext cx="338754" cy="1212852"/>
          </a:xfrm>
          <a:prstGeom prst="rightBrace">
            <a:avLst>
              <a:gd name="adj1" fmla="val 0"/>
              <a:gd name="adj2" fmla="val 5000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3D980A0E-1E1D-4F8D-AD91-A0BDEBACE379}"/>
              </a:ext>
            </a:extLst>
          </p:cNvPr>
          <p:cNvSpPr txBox="1"/>
          <p:nvPr/>
        </p:nvSpPr>
        <p:spPr>
          <a:xfrm>
            <a:off x="5661707" y="5728609"/>
            <a:ext cx="679673" cy="276999"/>
          </a:xfrm>
          <a:prstGeom prst="rect">
            <a:avLst/>
          </a:prstGeom>
          <a:noFill/>
        </p:spPr>
        <p:txBody>
          <a:bodyPr wrap="square" lIns="0" tIns="0" rIns="0" bIns="0" rtlCol="0">
            <a:spAutoFit/>
          </a:bodyPr>
          <a:lstStyle/>
          <a:p>
            <a:pPr>
              <a:lnSpc>
                <a:spcPct val="90000"/>
              </a:lnSpc>
              <a:spcAft>
                <a:spcPts val="600"/>
              </a:spcAft>
            </a:pPr>
            <a:r>
              <a:rPr lang="en-US" sz="2000"/>
              <a:t>Minor</a:t>
            </a:r>
          </a:p>
        </p:txBody>
      </p:sp>
      <p:sp>
        <p:nvSpPr>
          <p:cNvPr id="27" name="Right Brace 26" descr="Arrow pointing downwards">
            <a:extLst>
              <a:ext uri="{FF2B5EF4-FFF2-40B4-BE49-F238E27FC236}">
                <a16:creationId xmlns:a16="http://schemas.microsoft.com/office/drawing/2014/main" id="{A7F2E35F-77F6-4EC5-AEC0-1DFD4A8183C0}"/>
              </a:ext>
            </a:extLst>
          </p:cNvPr>
          <p:cNvSpPr/>
          <p:nvPr/>
        </p:nvSpPr>
        <p:spPr>
          <a:xfrm rot="5400000">
            <a:off x="7352529" y="4712626"/>
            <a:ext cx="338754" cy="1363000"/>
          </a:xfrm>
          <a:prstGeom prst="rightBrace">
            <a:avLst>
              <a:gd name="adj1" fmla="val 0"/>
              <a:gd name="adj2" fmla="val 5000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EC92BF75-46EF-4BA0-8DAE-1B3DB183D96C}"/>
              </a:ext>
            </a:extLst>
          </p:cNvPr>
          <p:cNvSpPr txBox="1"/>
          <p:nvPr/>
        </p:nvSpPr>
        <p:spPr>
          <a:xfrm>
            <a:off x="7215156" y="5728609"/>
            <a:ext cx="613501" cy="276999"/>
          </a:xfrm>
          <a:prstGeom prst="rect">
            <a:avLst/>
          </a:prstGeom>
          <a:noFill/>
        </p:spPr>
        <p:txBody>
          <a:bodyPr wrap="square" lIns="0" tIns="0" rIns="0" bIns="0" rtlCol="0">
            <a:spAutoFit/>
          </a:bodyPr>
          <a:lstStyle/>
          <a:p>
            <a:pPr>
              <a:lnSpc>
                <a:spcPct val="90000"/>
              </a:lnSpc>
              <a:spcAft>
                <a:spcPts val="600"/>
              </a:spcAft>
            </a:pPr>
            <a:r>
              <a:rPr lang="en-US" sz="2000"/>
              <a:t>Patch</a:t>
            </a:r>
          </a:p>
        </p:txBody>
      </p:sp>
    </p:spTree>
    <p:extLst>
      <p:ext uri="{BB962C8B-B14F-4D97-AF65-F5344CB8AC3E}">
        <p14:creationId xmlns:p14="http://schemas.microsoft.com/office/powerpoint/2010/main" val="220176348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DCE45-71BA-4C46-ADE4-741F70B4ED2A}"/>
              </a:ext>
            </a:extLst>
          </p:cNvPr>
          <p:cNvSpPr>
            <a:spLocks noGrp="1"/>
          </p:cNvSpPr>
          <p:nvPr>
            <p:ph type="title"/>
          </p:nvPr>
        </p:nvSpPr>
        <p:spPr/>
        <p:txBody>
          <a:bodyPr/>
          <a:lstStyle/>
          <a:p>
            <a:r>
              <a:rPr lang="en-US"/>
              <a:t>Semantic versioning</a:t>
            </a:r>
          </a:p>
        </p:txBody>
      </p:sp>
      <p:sp>
        <p:nvSpPr>
          <p:cNvPr id="18" name="Rectangle 17">
            <a:extLst>
              <a:ext uri="{FF2B5EF4-FFF2-40B4-BE49-F238E27FC236}">
                <a16:creationId xmlns:a16="http://schemas.microsoft.com/office/drawing/2014/main" id="{0DDBBAF2-28D1-4692-B29B-B23907B99F56}"/>
              </a:ext>
            </a:extLst>
          </p:cNvPr>
          <p:cNvSpPr/>
          <p:nvPr/>
        </p:nvSpPr>
        <p:spPr bwMode="auto">
          <a:xfrm>
            <a:off x="427038" y="1761218"/>
            <a:ext cx="11571287" cy="4469720"/>
          </a:xfrm>
          <a:prstGeom prst="rect">
            <a:avLst/>
          </a:prstGeom>
          <a:noFill/>
          <a:ln w="19050">
            <a:solidFill>
              <a:schemeClr val="tx2"/>
            </a:solidFill>
          </a:ln>
        </p:spPr>
        <p:txBody>
          <a:bodyPr wrap="square" lIns="182880" tIns="137160" rIns="182880" bIns="137160" rtlCol="0">
            <a:noAutofit/>
          </a:bodyPr>
          <a:lstStyle/>
          <a:p>
            <a:pPr defTabSz="932472" fontAlgn="base">
              <a:lnSpc>
                <a:spcPct val="90000"/>
              </a:lnSpc>
              <a:spcBef>
                <a:spcPct val="0"/>
              </a:spcBef>
              <a:spcAft>
                <a:spcPct val="0"/>
              </a:spcAft>
            </a:pPr>
            <a:r>
              <a:rPr lang="en-US" sz="2400">
                <a:solidFill>
                  <a:schemeClr val="tx1"/>
                </a:solidFill>
                <a:latin typeface="+mj-lt"/>
                <a:cs typeface="Segoe UI" pitchFamily="34" charset="0"/>
              </a:rPr>
              <a:t>Express nature and risk of change</a:t>
            </a:r>
          </a:p>
        </p:txBody>
      </p:sp>
      <p:sp>
        <p:nvSpPr>
          <p:cNvPr id="9" name="TextBox 8">
            <a:extLst>
              <a:ext uri="{FF2B5EF4-FFF2-40B4-BE49-F238E27FC236}">
                <a16:creationId xmlns:a16="http://schemas.microsoft.com/office/drawing/2014/main" id="{5ED77C74-7937-4BF6-B4AE-CCB5A81DB49D}"/>
              </a:ext>
            </a:extLst>
          </p:cNvPr>
          <p:cNvSpPr txBox="1"/>
          <p:nvPr/>
        </p:nvSpPr>
        <p:spPr>
          <a:xfrm>
            <a:off x="2284759" y="2588400"/>
            <a:ext cx="3629820" cy="1911292"/>
          </a:xfrm>
          <a:prstGeom prst="rect">
            <a:avLst/>
          </a:prstGeom>
          <a:noFill/>
        </p:spPr>
        <p:txBody>
          <a:bodyPr wrap="none" lIns="0" tIns="0" rIns="0" bIns="0" rtlCol="0">
            <a:spAutoFit/>
          </a:bodyPr>
          <a:lstStyle/>
          <a:p>
            <a:pPr>
              <a:lnSpc>
                <a:spcPct val="90000"/>
              </a:lnSpc>
              <a:spcAft>
                <a:spcPts val="600"/>
              </a:spcAft>
            </a:pPr>
            <a:r>
              <a:rPr lang="en-US" sz="13800">
                <a:solidFill>
                  <a:schemeClr val="tx2"/>
                </a:solidFill>
              </a:rPr>
              <a:t>1.2.3</a:t>
            </a:r>
          </a:p>
        </p:txBody>
      </p:sp>
      <p:sp>
        <p:nvSpPr>
          <p:cNvPr id="13" name="Right Brace 12" descr="Arrow pointing downwards">
            <a:extLst>
              <a:ext uri="{FF2B5EF4-FFF2-40B4-BE49-F238E27FC236}">
                <a16:creationId xmlns:a16="http://schemas.microsoft.com/office/drawing/2014/main" id="{143F2B34-0C0F-4A8B-A3ED-BE6D43315DB9}"/>
              </a:ext>
            </a:extLst>
          </p:cNvPr>
          <p:cNvSpPr/>
          <p:nvPr/>
        </p:nvSpPr>
        <p:spPr>
          <a:xfrm rot="5400000">
            <a:off x="3731490" y="2731652"/>
            <a:ext cx="830097" cy="3536080"/>
          </a:xfrm>
          <a:prstGeom prst="rightBrace">
            <a:avLst>
              <a:gd name="adj1" fmla="val 0"/>
              <a:gd name="adj2" fmla="val 50000"/>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5">
            <a:extLst>
              <a:ext uri="{FF2B5EF4-FFF2-40B4-BE49-F238E27FC236}">
                <a16:creationId xmlns:a16="http://schemas.microsoft.com/office/drawing/2014/main" id="{ACD3FB76-FEF7-49FF-A20E-460BCF7C21F5}"/>
              </a:ext>
            </a:extLst>
          </p:cNvPr>
          <p:cNvSpPr txBox="1"/>
          <p:nvPr/>
        </p:nvSpPr>
        <p:spPr>
          <a:xfrm>
            <a:off x="2965125" y="5071358"/>
            <a:ext cx="2362826" cy="332399"/>
          </a:xfrm>
          <a:prstGeom prst="rect">
            <a:avLst/>
          </a:prstGeom>
          <a:noFill/>
        </p:spPr>
        <p:txBody>
          <a:bodyPr wrap="square" lIns="0" tIns="0" rIns="0" bIns="0" rtlCol="0">
            <a:spAutoFit/>
          </a:bodyPr>
          <a:lstStyle/>
          <a:p>
            <a:pPr>
              <a:lnSpc>
                <a:spcPct val="90000"/>
              </a:lnSpc>
              <a:spcAft>
                <a:spcPts val="600"/>
              </a:spcAft>
            </a:pPr>
            <a:r>
              <a:rPr lang="en-US" sz="2400">
                <a:solidFill>
                  <a:schemeClr val="tx2"/>
                </a:solidFill>
              </a:rPr>
              <a:t>Nature of change</a:t>
            </a:r>
          </a:p>
        </p:txBody>
      </p:sp>
      <p:sp>
        <p:nvSpPr>
          <p:cNvPr id="11" name="TextBox 10">
            <a:extLst>
              <a:ext uri="{FF2B5EF4-FFF2-40B4-BE49-F238E27FC236}">
                <a16:creationId xmlns:a16="http://schemas.microsoft.com/office/drawing/2014/main" id="{21D94EAE-7EFD-4B09-8A45-3E1CC706A51A}"/>
              </a:ext>
            </a:extLst>
          </p:cNvPr>
          <p:cNvSpPr txBox="1"/>
          <p:nvPr/>
        </p:nvSpPr>
        <p:spPr>
          <a:xfrm>
            <a:off x="6008318" y="2588400"/>
            <a:ext cx="5126403" cy="1911292"/>
          </a:xfrm>
          <a:prstGeom prst="rect">
            <a:avLst/>
          </a:prstGeom>
          <a:noFill/>
        </p:spPr>
        <p:txBody>
          <a:bodyPr wrap="none" lIns="0" tIns="0" rIns="0" bIns="0" rtlCol="0">
            <a:spAutoFit/>
          </a:bodyPr>
          <a:lstStyle/>
          <a:p>
            <a:pPr>
              <a:lnSpc>
                <a:spcPct val="90000"/>
              </a:lnSpc>
              <a:spcAft>
                <a:spcPts val="600"/>
              </a:spcAft>
            </a:pPr>
            <a:r>
              <a:rPr lang="en-US" sz="13800">
                <a:solidFill>
                  <a:schemeClr val="accent2">
                    <a:lumMod val="75000"/>
                  </a:schemeClr>
                </a:solidFill>
              </a:rPr>
              <a:t>-beta2</a:t>
            </a:r>
          </a:p>
        </p:txBody>
      </p:sp>
      <p:sp>
        <p:nvSpPr>
          <p:cNvPr id="14" name="Right Brace 13" descr="Arrow pointing downwards">
            <a:extLst>
              <a:ext uri="{FF2B5EF4-FFF2-40B4-BE49-F238E27FC236}">
                <a16:creationId xmlns:a16="http://schemas.microsoft.com/office/drawing/2014/main" id="{18F8F29E-1DC9-4D6C-B9C3-725B9959927C}"/>
              </a:ext>
            </a:extLst>
          </p:cNvPr>
          <p:cNvSpPr/>
          <p:nvPr/>
        </p:nvSpPr>
        <p:spPr>
          <a:xfrm rot="5400000">
            <a:off x="8244152" y="1923797"/>
            <a:ext cx="830097" cy="5151802"/>
          </a:xfrm>
          <a:prstGeom prst="rightBrace">
            <a:avLst>
              <a:gd name="adj1" fmla="val 0"/>
              <a:gd name="adj2" fmla="val 50000"/>
            </a:avLst>
          </a:prstGeom>
          <a:ln w="19050">
            <a:solidFill>
              <a:schemeClr val="accent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22E32292-F5A5-43F0-B193-672FEE355B53}"/>
              </a:ext>
            </a:extLst>
          </p:cNvPr>
          <p:cNvSpPr txBox="1"/>
          <p:nvPr/>
        </p:nvSpPr>
        <p:spPr>
          <a:xfrm>
            <a:off x="7646930" y="5071358"/>
            <a:ext cx="2400529" cy="332399"/>
          </a:xfrm>
          <a:prstGeom prst="rect">
            <a:avLst/>
          </a:prstGeom>
          <a:noFill/>
        </p:spPr>
        <p:txBody>
          <a:bodyPr wrap="square" lIns="0" tIns="0" rIns="0" bIns="0" rtlCol="0">
            <a:spAutoFit/>
          </a:bodyPr>
          <a:lstStyle/>
          <a:p>
            <a:pPr>
              <a:lnSpc>
                <a:spcPct val="90000"/>
              </a:lnSpc>
              <a:spcAft>
                <a:spcPts val="600"/>
              </a:spcAft>
            </a:pPr>
            <a:r>
              <a:rPr lang="en-US" sz="2400">
                <a:solidFill>
                  <a:schemeClr val="accent2">
                    <a:lumMod val="75000"/>
                  </a:schemeClr>
                </a:solidFill>
              </a:rPr>
              <a:t>Quality of change</a:t>
            </a:r>
          </a:p>
        </p:txBody>
      </p:sp>
      <p:sp>
        <p:nvSpPr>
          <p:cNvPr id="7" name="TextBox 6">
            <a:extLst>
              <a:ext uri="{FF2B5EF4-FFF2-40B4-BE49-F238E27FC236}">
                <a16:creationId xmlns:a16="http://schemas.microsoft.com/office/drawing/2014/main" id="{B6C46273-09FE-4D04-9D99-E6962DDF776C}"/>
              </a:ext>
            </a:extLst>
          </p:cNvPr>
          <p:cNvSpPr txBox="1"/>
          <p:nvPr/>
        </p:nvSpPr>
        <p:spPr>
          <a:xfrm>
            <a:off x="639765" y="5825991"/>
            <a:ext cx="6848474" cy="246221"/>
          </a:xfrm>
          <a:prstGeom prst="rect">
            <a:avLst/>
          </a:prstGeom>
          <a:noFill/>
        </p:spPr>
        <p:txBody>
          <a:bodyPr wrap="square" lIns="0" tIns="0" rIns="0" bIns="0">
            <a:spAutoFit/>
          </a:bodyPr>
          <a:lstStyle/>
          <a:p>
            <a:r>
              <a:rPr lang="en-US" sz="1600"/>
              <a:t>See also: https://semver.org</a:t>
            </a:r>
          </a:p>
        </p:txBody>
      </p:sp>
    </p:spTree>
    <p:extLst>
      <p:ext uri="{BB962C8B-B14F-4D97-AF65-F5344CB8AC3E}">
        <p14:creationId xmlns:p14="http://schemas.microsoft.com/office/powerpoint/2010/main" val="138086770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24F5B-38B6-4A50-B0C2-9DBFF3DA0214}"/>
              </a:ext>
            </a:extLst>
          </p:cNvPr>
          <p:cNvSpPr>
            <a:spLocks noGrp="1"/>
          </p:cNvSpPr>
          <p:nvPr>
            <p:ph type="title"/>
          </p:nvPr>
        </p:nvSpPr>
        <p:spPr>
          <a:xfrm>
            <a:off x="465138" y="632779"/>
            <a:ext cx="11533187" cy="411162"/>
          </a:xfrm>
        </p:spPr>
        <p:txBody>
          <a:bodyPr/>
          <a:lstStyle/>
          <a:p>
            <a:r>
              <a:rPr lang="en-US"/>
              <a:t>Release views</a:t>
            </a:r>
          </a:p>
        </p:txBody>
      </p:sp>
      <p:sp>
        <p:nvSpPr>
          <p:cNvPr id="31" name="TextBox 30">
            <a:extLst>
              <a:ext uri="{FF2B5EF4-FFF2-40B4-BE49-F238E27FC236}">
                <a16:creationId xmlns:a16="http://schemas.microsoft.com/office/drawing/2014/main" id="{94CD3131-AF3D-4ADE-89AB-5F29E2A75EDA}"/>
              </a:ext>
            </a:extLst>
          </p:cNvPr>
          <p:cNvSpPr txBox="1"/>
          <p:nvPr/>
        </p:nvSpPr>
        <p:spPr>
          <a:xfrm>
            <a:off x="429768" y="1188720"/>
            <a:ext cx="9542907" cy="332399"/>
          </a:xfrm>
          <a:prstGeom prst="rect">
            <a:avLst/>
          </a:prstGeom>
          <a:noFill/>
        </p:spPr>
        <p:txBody>
          <a:bodyPr wrap="square" lIns="0" tIns="0" rIns="0" bIns="0" rtlCol="0">
            <a:spAutoFit/>
          </a:bodyPr>
          <a:lstStyle/>
          <a:p>
            <a:pPr>
              <a:lnSpc>
                <a:spcPct val="90000"/>
              </a:lnSpc>
              <a:spcAft>
                <a:spcPts val="600"/>
              </a:spcAft>
            </a:pPr>
            <a:r>
              <a:rPr lang="en-US" sz="2400">
                <a:latin typeface="+mj-lt"/>
              </a:rPr>
              <a:t>Views help in defining quality without changing version numbers</a:t>
            </a:r>
          </a:p>
        </p:txBody>
      </p:sp>
      <p:sp>
        <p:nvSpPr>
          <p:cNvPr id="5" name="TextBox 4">
            <a:extLst>
              <a:ext uri="{FF2B5EF4-FFF2-40B4-BE49-F238E27FC236}">
                <a16:creationId xmlns:a16="http://schemas.microsoft.com/office/drawing/2014/main" id="{BC7882A2-703D-4452-A39B-9C2E0AD1D20F}"/>
              </a:ext>
            </a:extLst>
          </p:cNvPr>
          <p:cNvSpPr txBox="1">
            <a:spLocks/>
          </p:cNvSpPr>
          <p:nvPr/>
        </p:nvSpPr>
        <p:spPr>
          <a:xfrm>
            <a:off x="429768" y="1899330"/>
            <a:ext cx="11579669" cy="2127048"/>
          </a:xfrm>
          <a:prstGeom prst="rect">
            <a:avLst/>
          </a:prstGeom>
          <a:noFill/>
          <a:ln w="19050">
            <a:solidFill>
              <a:schemeClr val="tx2"/>
            </a:solidFill>
          </a:ln>
        </p:spPr>
        <p:txBody>
          <a:bodyPr wrap="square" lIns="182880" tIns="137160" rIns="182880" bIns="137160" rtlCol="0">
            <a:noAutofit/>
          </a:bodyPr>
          <a:lstStyle/>
          <a:p>
            <a:r>
              <a:rPr lang="en-US" sz="2200">
                <a:solidFill>
                  <a:schemeClr val="tx1"/>
                </a:solidFill>
                <a:latin typeface="+mj-lt"/>
              </a:rPr>
              <a:t>Three default views:</a:t>
            </a:r>
            <a:r>
              <a:rPr lang="en-US" sz="2200">
                <a:solidFill>
                  <a:schemeClr val="tx1"/>
                </a:solidFill>
              </a:rPr>
              <a:t> </a:t>
            </a:r>
          </a:p>
        </p:txBody>
      </p:sp>
      <p:sp>
        <p:nvSpPr>
          <p:cNvPr id="3" name="Oval 2">
            <a:extLst>
              <a:ext uri="{FF2B5EF4-FFF2-40B4-BE49-F238E27FC236}">
                <a16:creationId xmlns:a16="http://schemas.microsoft.com/office/drawing/2014/main" id="{1095E575-F2F1-48F4-9B90-9E75450D2E77}"/>
              </a:ext>
            </a:extLst>
          </p:cNvPr>
          <p:cNvSpPr/>
          <p:nvPr/>
        </p:nvSpPr>
        <p:spPr bwMode="auto">
          <a:xfrm rot="10800000" flipV="1">
            <a:off x="2198296" y="2630058"/>
            <a:ext cx="462392" cy="462392"/>
          </a:xfrm>
          <a:prstGeom prst="ellipse">
            <a:avLst/>
          </a:prstGeom>
          <a:solidFill>
            <a:schemeClr val="bg1"/>
          </a:solid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2"/>
                </a:solidFill>
                <a:ea typeface="Segoe UI" pitchFamily="34" charset="0"/>
                <a:cs typeface="Segoe UI" pitchFamily="34" charset="0"/>
              </a:rPr>
              <a:t>1</a:t>
            </a:r>
          </a:p>
        </p:txBody>
      </p:sp>
      <p:sp>
        <p:nvSpPr>
          <p:cNvPr id="19" name="TextBox 18">
            <a:extLst>
              <a:ext uri="{FF2B5EF4-FFF2-40B4-BE49-F238E27FC236}">
                <a16:creationId xmlns:a16="http://schemas.microsoft.com/office/drawing/2014/main" id="{3FC48C4F-159D-44B6-8C8B-73F68029B7B4}"/>
              </a:ext>
            </a:extLst>
          </p:cNvPr>
          <p:cNvSpPr txBox="1">
            <a:spLocks/>
          </p:cNvSpPr>
          <p:nvPr/>
        </p:nvSpPr>
        <p:spPr>
          <a:xfrm>
            <a:off x="609835" y="2486026"/>
            <a:ext cx="3639312" cy="1357313"/>
          </a:xfrm>
          <a:custGeom>
            <a:avLst/>
            <a:gdLst>
              <a:gd name="connsiteX0" fmla="*/ 1819657 w 3639312"/>
              <a:gd name="connsiteY0" fmla="*/ 144032 h 1357313"/>
              <a:gd name="connsiteX1" fmla="*/ 1588461 w 3639312"/>
              <a:gd name="connsiteY1" fmla="*/ 375228 h 1357313"/>
              <a:gd name="connsiteX2" fmla="*/ 1819657 w 3639312"/>
              <a:gd name="connsiteY2" fmla="*/ 606424 h 1357313"/>
              <a:gd name="connsiteX3" fmla="*/ 2050853 w 3639312"/>
              <a:gd name="connsiteY3" fmla="*/ 375228 h 1357313"/>
              <a:gd name="connsiteX4" fmla="*/ 1819657 w 3639312"/>
              <a:gd name="connsiteY4" fmla="*/ 144032 h 1357313"/>
              <a:gd name="connsiteX5" fmla="*/ 0 w 3639312"/>
              <a:gd name="connsiteY5" fmla="*/ 0 h 1357313"/>
              <a:gd name="connsiteX6" fmla="*/ 3639312 w 3639312"/>
              <a:gd name="connsiteY6" fmla="*/ 0 h 1357313"/>
              <a:gd name="connsiteX7" fmla="*/ 3639312 w 3639312"/>
              <a:gd name="connsiteY7" fmla="*/ 1357313 h 1357313"/>
              <a:gd name="connsiteX8" fmla="*/ 0 w 3639312"/>
              <a:gd name="connsiteY8" fmla="*/ 1357313 h 135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9312" h="1357313">
                <a:moveTo>
                  <a:pt x="1819657" y="144032"/>
                </a:moveTo>
                <a:cubicBezTo>
                  <a:pt x="1691971" y="144032"/>
                  <a:pt x="1588461" y="247542"/>
                  <a:pt x="1588461" y="375228"/>
                </a:cubicBezTo>
                <a:cubicBezTo>
                  <a:pt x="1588461" y="502914"/>
                  <a:pt x="1691971" y="606424"/>
                  <a:pt x="1819657" y="606424"/>
                </a:cubicBezTo>
                <a:cubicBezTo>
                  <a:pt x="1947343" y="606424"/>
                  <a:pt x="2050853" y="502914"/>
                  <a:pt x="2050853" y="375228"/>
                </a:cubicBezTo>
                <a:cubicBezTo>
                  <a:pt x="2050853" y="247542"/>
                  <a:pt x="1947343" y="144032"/>
                  <a:pt x="1819657" y="144032"/>
                </a:cubicBezTo>
                <a:close/>
                <a:moveTo>
                  <a:pt x="0" y="0"/>
                </a:moveTo>
                <a:lnTo>
                  <a:pt x="3639312" y="0"/>
                </a:lnTo>
                <a:lnTo>
                  <a:pt x="3639312" y="1357313"/>
                </a:lnTo>
                <a:lnTo>
                  <a:pt x="0" y="1357313"/>
                </a:lnTo>
                <a:close/>
              </a:path>
            </a:pathLst>
          </a:cu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274320" numCol="1" spcCol="0" rtlCol="0" fromWordArt="0" anchor="b" anchorCtr="0" forceAA="0" compatLnSpc="1">
            <a:prstTxWarp prst="textNoShape">
              <a:avLst/>
            </a:prstTxWarp>
            <a:noAutofit/>
          </a:bodyPr>
          <a:lstStyle>
            <a:defPPr>
              <a:defRPr lang="en-US"/>
            </a:defPPr>
            <a:lvl1pPr marL="114300" algn="ctr">
              <a:spcBef>
                <a:spcPts val="400"/>
              </a:spcBef>
              <a:spcAft>
                <a:spcPts val="400"/>
              </a:spcAft>
              <a:defRPr sz="2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tx1"/>
                </a:solidFill>
              </a:rPr>
              <a:t>Local</a:t>
            </a:r>
          </a:p>
        </p:txBody>
      </p:sp>
      <p:sp>
        <p:nvSpPr>
          <p:cNvPr id="13" name="Oval 12">
            <a:extLst>
              <a:ext uri="{FF2B5EF4-FFF2-40B4-BE49-F238E27FC236}">
                <a16:creationId xmlns:a16="http://schemas.microsoft.com/office/drawing/2014/main" id="{8FA146DA-5FE2-4C7D-984E-69022D2F6B3B}"/>
              </a:ext>
            </a:extLst>
          </p:cNvPr>
          <p:cNvSpPr/>
          <p:nvPr/>
        </p:nvSpPr>
        <p:spPr bwMode="auto">
          <a:xfrm rot="10800000" flipV="1">
            <a:off x="5998330" y="2630058"/>
            <a:ext cx="462392" cy="462392"/>
          </a:xfrm>
          <a:prstGeom prst="ellipse">
            <a:avLst/>
          </a:prstGeom>
          <a:solidFill>
            <a:schemeClr val="bg1"/>
          </a:solid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2"/>
                </a:solidFill>
                <a:ea typeface="Segoe UI" pitchFamily="34" charset="0"/>
                <a:cs typeface="Segoe UI" pitchFamily="34" charset="0"/>
              </a:rPr>
              <a:t>2</a:t>
            </a:r>
          </a:p>
        </p:txBody>
      </p:sp>
      <p:sp>
        <p:nvSpPr>
          <p:cNvPr id="21" name="TextBox 20">
            <a:extLst>
              <a:ext uri="{FF2B5EF4-FFF2-40B4-BE49-F238E27FC236}">
                <a16:creationId xmlns:a16="http://schemas.microsoft.com/office/drawing/2014/main" id="{68342811-9C48-401D-9ECA-EBDE724A04BF}"/>
              </a:ext>
            </a:extLst>
          </p:cNvPr>
          <p:cNvSpPr txBox="1">
            <a:spLocks/>
          </p:cNvSpPr>
          <p:nvPr/>
        </p:nvSpPr>
        <p:spPr>
          <a:xfrm>
            <a:off x="4409870" y="2486025"/>
            <a:ext cx="3639312" cy="1357314"/>
          </a:xfrm>
          <a:custGeom>
            <a:avLst/>
            <a:gdLst>
              <a:gd name="connsiteX0" fmla="*/ 1819656 w 3639312"/>
              <a:gd name="connsiteY0" fmla="*/ 144033 h 1357314"/>
              <a:gd name="connsiteX1" fmla="*/ 1588460 w 3639312"/>
              <a:gd name="connsiteY1" fmla="*/ 375229 h 1357314"/>
              <a:gd name="connsiteX2" fmla="*/ 1819656 w 3639312"/>
              <a:gd name="connsiteY2" fmla="*/ 606425 h 1357314"/>
              <a:gd name="connsiteX3" fmla="*/ 2050852 w 3639312"/>
              <a:gd name="connsiteY3" fmla="*/ 375229 h 1357314"/>
              <a:gd name="connsiteX4" fmla="*/ 1819656 w 3639312"/>
              <a:gd name="connsiteY4" fmla="*/ 144033 h 1357314"/>
              <a:gd name="connsiteX5" fmla="*/ 0 w 3639312"/>
              <a:gd name="connsiteY5" fmla="*/ 0 h 1357314"/>
              <a:gd name="connsiteX6" fmla="*/ 3639312 w 3639312"/>
              <a:gd name="connsiteY6" fmla="*/ 0 h 1357314"/>
              <a:gd name="connsiteX7" fmla="*/ 3639312 w 3639312"/>
              <a:gd name="connsiteY7" fmla="*/ 1357314 h 1357314"/>
              <a:gd name="connsiteX8" fmla="*/ 0 w 3639312"/>
              <a:gd name="connsiteY8" fmla="*/ 1357314 h 135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9312" h="1357314">
                <a:moveTo>
                  <a:pt x="1819656" y="144033"/>
                </a:moveTo>
                <a:cubicBezTo>
                  <a:pt x="1691970" y="144033"/>
                  <a:pt x="1588460" y="247543"/>
                  <a:pt x="1588460" y="375229"/>
                </a:cubicBezTo>
                <a:cubicBezTo>
                  <a:pt x="1588460" y="502915"/>
                  <a:pt x="1691970" y="606425"/>
                  <a:pt x="1819656" y="606425"/>
                </a:cubicBezTo>
                <a:cubicBezTo>
                  <a:pt x="1947342" y="606425"/>
                  <a:pt x="2050852" y="502915"/>
                  <a:pt x="2050852" y="375229"/>
                </a:cubicBezTo>
                <a:cubicBezTo>
                  <a:pt x="2050852" y="247543"/>
                  <a:pt x="1947342" y="144033"/>
                  <a:pt x="1819656" y="144033"/>
                </a:cubicBezTo>
                <a:close/>
                <a:moveTo>
                  <a:pt x="0" y="0"/>
                </a:moveTo>
                <a:lnTo>
                  <a:pt x="3639312" y="0"/>
                </a:lnTo>
                <a:lnTo>
                  <a:pt x="3639312" y="1357314"/>
                </a:lnTo>
                <a:lnTo>
                  <a:pt x="0" y="1357314"/>
                </a:lnTo>
                <a:close/>
              </a:path>
            </a:pathLst>
          </a:cu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274320" numCol="1" spcCol="0" rtlCol="0" fromWordArt="0" anchor="b" anchorCtr="0" forceAA="0" compatLnSpc="1">
            <a:prstTxWarp prst="textNoShape">
              <a:avLst/>
            </a:prstTxWarp>
            <a:noAutofit/>
          </a:bodyPr>
          <a:lstStyle>
            <a:defPPr>
              <a:defRPr lang="en-US"/>
            </a:defPPr>
            <a:lvl1pPr marL="114300" algn="ctr">
              <a:spcBef>
                <a:spcPts val="400"/>
              </a:spcBef>
              <a:spcAft>
                <a:spcPts val="400"/>
              </a:spcAft>
              <a:defRPr sz="2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tx1"/>
                </a:solidFill>
              </a:rPr>
              <a:t>Release</a:t>
            </a:r>
          </a:p>
        </p:txBody>
      </p:sp>
      <p:sp>
        <p:nvSpPr>
          <p:cNvPr id="14" name="Oval 13">
            <a:extLst>
              <a:ext uri="{FF2B5EF4-FFF2-40B4-BE49-F238E27FC236}">
                <a16:creationId xmlns:a16="http://schemas.microsoft.com/office/drawing/2014/main" id="{685FC0B7-BE5F-4B2B-B117-DC4964186E57}"/>
              </a:ext>
            </a:extLst>
          </p:cNvPr>
          <p:cNvSpPr/>
          <p:nvPr/>
        </p:nvSpPr>
        <p:spPr bwMode="auto">
          <a:xfrm rot="10800000" flipV="1">
            <a:off x="9796271" y="2630058"/>
            <a:ext cx="462392" cy="462392"/>
          </a:xfrm>
          <a:prstGeom prst="ellipse">
            <a:avLst/>
          </a:prstGeom>
          <a:solidFill>
            <a:schemeClr val="bg1"/>
          </a:solid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b="1">
                <a:solidFill>
                  <a:schemeClr val="tx2"/>
                </a:solidFill>
                <a:ea typeface="Segoe UI" pitchFamily="34" charset="0"/>
                <a:cs typeface="Segoe UI" pitchFamily="34" charset="0"/>
              </a:rPr>
              <a:t>3</a:t>
            </a:r>
          </a:p>
        </p:txBody>
      </p:sp>
      <p:sp>
        <p:nvSpPr>
          <p:cNvPr id="22" name="TextBox 21">
            <a:extLst>
              <a:ext uri="{FF2B5EF4-FFF2-40B4-BE49-F238E27FC236}">
                <a16:creationId xmlns:a16="http://schemas.microsoft.com/office/drawing/2014/main" id="{4D626F01-AB59-48F5-9DB4-432846DA314F}"/>
              </a:ext>
            </a:extLst>
          </p:cNvPr>
          <p:cNvSpPr txBox="1">
            <a:spLocks/>
          </p:cNvSpPr>
          <p:nvPr/>
        </p:nvSpPr>
        <p:spPr>
          <a:xfrm>
            <a:off x="8207811" y="2486025"/>
            <a:ext cx="3639312" cy="1357314"/>
          </a:xfrm>
          <a:custGeom>
            <a:avLst/>
            <a:gdLst>
              <a:gd name="connsiteX0" fmla="*/ 1819656 w 3639312"/>
              <a:gd name="connsiteY0" fmla="*/ 144033 h 1357314"/>
              <a:gd name="connsiteX1" fmla="*/ 1588460 w 3639312"/>
              <a:gd name="connsiteY1" fmla="*/ 375229 h 1357314"/>
              <a:gd name="connsiteX2" fmla="*/ 1819656 w 3639312"/>
              <a:gd name="connsiteY2" fmla="*/ 606425 h 1357314"/>
              <a:gd name="connsiteX3" fmla="*/ 2050852 w 3639312"/>
              <a:gd name="connsiteY3" fmla="*/ 375229 h 1357314"/>
              <a:gd name="connsiteX4" fmla="*/ 1819656 w 3639312"/>
              <a:gd name="connsiteY4" fmla="*/ 144033 h 1357314"/>
              <a:gd name="connsiteX5" fmla="*/ 0 w 3639312"/>
              <a:gd name="connsiteY5" fmla="*/ 0 h 1357314"/>
              <a:gd name="connsiteX6" fmla="*/ 3639312 w 3639312"/>
              <a:gd name="connsiteY6" fmla="*/ 0 h 1357314"/>
              <a:gd name="connsiteX7" fmla="*/ 3639312 w 3639312"/>
              <a:gd name="connsiteY7" fmla="*/ 1357314 h 1357314"/>
              <a:gd name="connsiteX8" fmla="*/ 0 w 3639312"/>
              <a:gd name="connsiteY8" fmla="*/ 1357314 h 135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9312" h="1357314">
                <a:moveTo>
                  <a:pt x="1819656" y="144033"/>
                </a:moveTo>
                <a:cubicBezTo>
                  <a:pt x="1691970" y="144033"/>
                  <a:pt x="1588460" y="247543"/>
                  <a:pt x="1588460" y="375229"/>
                </a:cubicBezTo>
                <a:cubicBezTo>
                  <a:pt x="1588460" y="502915"/>
                  <a:pt x="1691970" y="606425"/>
                  <a:pt x="1819656" y="606425"/>
                </a:cubicBezTo>
                <a:cubicBezTo>
                  <a:pt x="1947342" y="606425"/>
                  <a:pt x="2050852" y="502915"/>
                  <a:pt x="2050852" y="375229"/>
                </a:cubicBezTo>
                <a:cubicBezTo>
                  <a:pt x="2050852" y="247543"/>
                  <a:pt x="1947342" y="144033"/>
                  <a:pt x="1819656" y="144033"/>
                </a:cubicBezTo>
                <a:close/>
                <a:moveTo>
                  <a:pt x="0" y="0"/>
                </a:moveTo>
                <a:lnTo>
                  <a:pt x="3639312" y="0"/>
                </a:lnTo>
                <a:lnTo>
                  <a:pt x="3639312" y="1357314"/>
                </a:lnTo>
                <a:lnTo>
                  <a:pt x="0" y="1357314"/>
                </a:lnTo>
                <a:close/>
              </a:path>
            </a:pathLst>
          </a:cu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274320" numCol="1" spcCol="0" rtlCol="0" fromWordArt="0" anchor="b" anchorCtr="0" forceAA="0" compatLnSpc="1">
            <a:prstTxWarp prst="textNoShape">
              <a:avLst/>
            </a:prstTxWarp>
            <a:noAutofit/>
          </a:bodyPr>
          <a:lstStyle>
            <a:defPPr>
              <a:defRPr lang="en-US"/>
            </a:defPPr>
            <a:lvl1pPr marL="114300" algn="ctr">
              <a:spcBef>
                <a:spcPts val="400"/>
              </a:spcBef>
              <a:spcAft>
                <a:spcPts val="400"/>
              </a:spcAft>
              <a:defRPr sz="2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solidFill>
                  <a:schemeClr val="tx1"/>
                </a:solidFill>
              </a:rPr>
              <a:t>Prerelease</a:t>
            </a:r>
          </a:p>
        </p:txBody>
      </p:sp>
      <p:sp>
        <p:nvSpPr>
          <p:cNvPr id="10" name="TextBox 9">
            <a:extLst>
              <a:ext uri="{FF2B5EF4-FFF2-40B4-BE49-F238E27FC236}">
                <a16:creationId xmlns:a16="http://schemas.microsoft.com/office/drawing/2014/main" id="{D0B82329-DC11-4DA6-93CC-890C8768D1B7}"/>
              </a:ext>
            </a:extLst>
          </p:cNvPr>
          <p:cNvSpPr txBox="1">
            <a:spLocks/>
          </p:cNvSpPr>
          <p:nvPr/>
        </p:nvSpPr>
        <p:spPr>
          <a:xfrm>
            <a:off x="429768" y="4229101"/>
            <a:ext cx="11579670" cy="1097868"/>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defPPr>
              <a:defRPr lang="en-US"/>
            </a:defPPr>
            <a:lvl1pPr>
              <a:defRPr sz="2400">
                <a:latin typeface="Consolas" panose="020B06090202040302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chemeClr val="tx1"/>
                </a:solidFill>
              </a:rPr>
              <a:t>https://pkgs.dev.azure.com/{yourteamproject}/_packaging/{feedname}</a:t>
            </a:r>
            <a:br>
              <a:rPr lang="en-US">
                <a:solidFill>
                  <a:schemeClr val="tx1"/>
                </a:solidFill>
              </a:rPr>
            </a:br>
            <a:r>
              <a:rPr lang="en-US">
                <a:solidFill>
                  <a:schemeClr val="tx1"/>
                </a:solidFill>
              </a:rPr>
              <a:t>@{Viewname}/nuget/v3/index.json</a:t>
            </a:r>
          </a:p>
        </p:txBody>
      </p:sp>
      <p:sp>
        <p:nvSpPr>
          <p:cNvPr id="20" name="Rectangle 19" descr="A shape highlighting @{Viewname}">
            <a:extLst>
              <a:ext uri="{FF2B5EF4-FFF2-40B4-BE49-F238E27FC236}">
                <a16:creationId xmlns:a16="http://schemas.microsoft.com/office/drawing/2014/main" id="{5C491DC2-3220-434B-AC10-3B41F184C922}"/>
              </a:ext>
            </a:extLst>
          </p:cNvPr>
          <p:cNvSpPr/>
          <p:nvPr/>
        </p:nvSpPr>
        <p:spPr bwMode="auto">
          <a:xfrm>
            <a:off x="525426" y="4791075"/>
            <a:ext cx="1900274" cy="388660"/>
          </a:xfrm>
          <a:prstGeom prst="rect">
            <a:avLst/>
          </a:prstGeom>
          <a:noFill/>
          <a:ln w="2222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3305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1B9C-B4A1-4E8B-BDD0-8D4B9DE9519A}"/>
              </a:ext>
            </a:extLst>
          </p:cNvPr>
          <p:cNvSpPr>
            <a:spLocks noGrp="1"/>
          </p:cNvSpPr>
          <p:nvPr>
            <p:ph type="title"/>
          </p:nvPr>
        </p:nvSpPr>
        <p:spPr/>
        <p:txBody>
          <a:bodyPr/>
          <a:lstStyle/>
          <a:p>
            <a:r>
              <a:rPr lang="en-US"/>
              <a:t>Module overview</a:t>
            </a:r>
          </a:p>
        </p:txBody>
      </p:sp>
      <p:pic>
        <p:nvPicPr>
          <p:cNvPr id="105" name="Picture 104" descr="Icon of a magnifying glass">
            <a:extLst>
              <a:ext uri="{FF2B5EF4-FFF2-40B4-BE49-F238E27FC236}">
                <a16:creationId xmlns:a16="http://schemas.microsoft.com/office/drawing/2014/main" id="{419011EC-AB8C-4485-89D8-55006B0F7FFB}"/>
              </a:ext>
            </a:extLst>
          </p:cNvPr>
          <p:cNvPicPr>
            <a:picLocks noChangeAspect="1"/>
          </p:cNvPicPr>
          <p:nvPr/>
        </p:nvPicPr>
        <p:blipFill>
          <a:blip r:embed="rId3"/>
          <a:stretch>
            <a:fillRect/>
          </a:stretch>
        </p:blipFill>
        <p:spPr>
          <a:xfrm>
            <a:off x="461758" y="1224381"/>
            <a:ext cx="952500" cy="952500"/>
          </a:xfrm>
          <a:prstGeom prst="rect">
            <a:avLst/>
          </a:prstGeom>
        </p:spPr>
      </p:pic>
      <p:sp>
        <p:nvSpPr>
          <p:cNvPr id="4" name="TextBox 3">
            <a:extLst>
              <a:ext uri="{FF2B5EF4-FFF2-40B4-BE49-F238E27FC236}">
                <a16:creationId xmlns:a16="http://schemas.microsoft.com/office/drawing/2014/main" id="{6BDFB86B-65AB-4300-B3F0-1E8C3F4EAD42}"/>
              </a:ext>
            </a:extLst>
          </p:cNvPr>
          <p:cNvSpPr txBox="1"/>
          <p:nvPr/>
        </p:nvSpPr>
        <p:spPr>
          <a:xfrm>
            <a:off x="1648212" y="1515203"/>
            <a:ext cx="4462302" cy="369332"/>
          </a:xfrm>
          <a:prstGeom prst="rect">
            <a:avLst/>
          </a:prstGeom>
          <a:noFill/>
        </p:spPr>
        <p:txBody>
          <a:bodyPr wrap="square" lIns="0" tIns="0" rIns="0" bIns="0" rtlCol="0" anchor="ctr">
            <a:spAutoFit/>
          </a:bodyPr>
          <a:lstStyle/>
          <a:p>
            <a:pPr>
              <a:spcAft>
                <a:spcPts val="600"/>
              </a:spcAft>
            </a:pPr>
            <a:r>
              <a:rPr lang="en-US" sz="2400"/>
              <a:t>Lesson 1: Module overview</a:t>
            </a:r>
          </a:p>
        </p:txBody>
      </p:sp>
      <p:cxnSp>
        <p:nvCxnSpPr>
          <p:cNvPr id="21" name="Straight Connector 20">
            <a:extLst>
              <a:ext uri="{FF2B5EF4-FFF2-40B4-BE49-F238E27FC236}">
                <a16:creationId xmlns:a16="http://schemas.microsoft.com/office/drawing/2014/main" id="{CD74FF1A-66E6-4C63-BC0D-2CDCB40FB0AB}"/>
              </a:ext>
              <a:ext uri="{C183D7F6-B498-43B3-948B-1728B52AA6E4}">
                <adec:decorative xmlns:adec="http://schemas.microsoft.com/office/drawing/2017/decorative" val="1"/>
              </a:ext>
            </a:extLst>
          </p:cNvPr>
          <p:cNvCxnSpPr>
            <a:cxnSpLocks/>
          </p:cNvCxnSpPr>
          <p:nvPr/>
        </p:nvCxnSpPr>
        <p:spPr>
          <a:xfrm>
            <a:off x="1648212" y="2361669"/>
            <a:ext cx="446230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Picture 38" descr="Icon of a security lock">
            <a:extLst>
              <a:ext uri="{FF2B5EF4-FFF2-40B4-BE49-F238E27FC236}">
                <a16:creationId xmlns:a16="http://schemas.microsoft.com/office/drawing/2014/main" id="{79F99272-DD3C-40B5-8075-BB32E81EB395}"/>
              </a:ext>
            </a:extLst>
          </p:cNvPr>
          <p:cNvPicPr>
            <a:picLocks noChangeAspect="1"/>
          </p:cNvPicPr>
          <p:nvPr/>
        </p:nvPicPr>
        <p:blipFill>
          <a:blip r:embed="rId4"/>
          <a:stretch>
            <a:fillRect/>
          </a:stretch>
        </p:blipFill>
        <p:spPr>
          <a:xfrm>
            <a:off x="461758" y="2547981"/>
            <a:ext cx="952500" cy="952500"/>
          </a:xfrm>
          <a:prstGeom prst="rect">
            <a:avLst/>
          </a:prstGeom>
        </p:spPr>
      </p:pic>
      <p:sp>
        <p:nvSpPr>
          <p:cNvPr id="23" name="TextBox 22">
            <a:extLst>
              <a:ext uri="{FF2B5EF4-FFF2-40B4-BE49-F238E27FC236}">
                <a16:creationId xmlns:a16="http://schemas.microsoft.com/office/drawing/2014/main" id="{D61D5B8B-9A7D-47E7-84D4-BBD52ABA5CDC}"/>
              </a:ext>
            </a:extLst>
          </p:cNvPr>
          <p:cNvSpPr txBox="1"/>
          <p:nvPr/>
        </p:nvSpPr>
        <p:spPr>
          <a:xfrm>
            <a:off x="1648212" y="2838803"/>
            <a:ext cx="4462302" cy="369332"/>
          </a:xfrm>
          <a:prstGeom prst="rect">
            <a:avLst/>
          </a:prstGeom>
          <a:noFill/>
        </p:spPr>
        <p:txBody>
          <a:bodyPr wrap="square" lIns="0" tIns="0" rIns="0" bIns="0" rtlCol="0" anchor="ctr">
            <a:spAutoFit/>
          </a:bodyPr>
          <a:lstStyle/>
          <a:p>
            <a:pPr>
              <a:spcAft>
                <a:spcPts val="600"/>
              </a:spcAft>
            </a:pPr>
            <a:r>
              <a:rPr lang="en-US" sz="2400"/>
              <a:t>Lesson 2: Package security</a:t>
            </a:r>
          </a:p>
        </p:txBody>
      </p:sp>
      <p:cxnSp>
        <p:nvCxnSpPr>
          <p:cNvPr id="24" name="Straight Connector 23">
            <a:extLst>
              <a:ext uri="{FF2B5EF4-FFF2-40B4-BE49-F238E27FC236}">
                <a16:creationId xmlns:a16="http://schemas.microsoft.com/office/drawing/2014/main" id="{CCE99C89-B9B0-4EB7-90B2-A235A402C262}"/>
              </a:ext>
              <a:ext uri="{C183D7F6-B498-43B3-948B-1728B52AA6E4}">
                <adec:decorative xmlns:adec="http://schemas.microsoft.com/office/drawing/2017/decorative" val="1"/>
              </a:ext>
            </a:extLst>
          </p:cNvPr>
          <p:cNvCxnSpPr>
            <a:cxnSpLocks/>
          </p:cNvCxnSpPr>
          <p:nvPr/>
        </p:nvCxnSpPr>
        <p:spPr>
          <a:xfrm>
            <a:off x="1648212" y="3685269"/>
            <a:ext cx="446230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90" name="Picture 89" descr="Icon of three squares and a cloud">
            <a:extLst>
              <a:ext uri="{FF2B5EF4-FFF2-40B4-BE49-F238E27FC236}">
                <a16:creationId xmlns:a16="http://schemas.microsoft.com/office/drawing/2014/main" id="{BF4ADB7E-74D9-4B6F-8494-B728B8722A19}"/>
              </a:ext>
            </a:extLst>
          </p:cNvPr>
          <p:cNvPicPr>
            <a:picLocks noChangeAspect="1"/>
          </p:cNvPicPr>
          <p:nvPr/>
        </p:nvPicPr>
        <p:blipFill>
          <a:blip r:embed="rId5"/>
          <a:stretch>
            <a:fillRect/>
          </a:stretch>
        </p:blipFill>
        <p:spPr>
          <a:xfrm>
            <a:off x="461758" y="3870057"/>
            <a:ext cx="952500" cy="952500"/>
          </a:xfrm>
          <a:prstGeom prst="rect">
            <a:avLst/>
          </a:prstGeom>
        </p:spPr>
      </p:pic>
      <p:sp>
        <p:nvSpPr>
          <p:cNvPr id="26" name="TextBox 25">
            <a:extLst>
              <a:ext uri="{FF2B5EF4-FFF2-40B4-BE49-F238E27FC236}">
                <a16:creationId xmlns:a16="http://schemas.microsoft.com/office/drawing/2014/main" id="{F2E07605-C0FF-408F-A039-BFEFC1D113E9}"/>
              </a:ext>
            </a:extLst>
          </p:cNvPr>
          <p:cNvSpPr txBox="1"/>
          <p:nvPr/>
        </p:nvSpPr>
        <p:spPr>
          <a:xfrm>
            <a:off x="1648212" y="4162403"/>
            <a:ext cx="4462302" cy="369332"/>
          </a:xfrm>
          <a:prstGeom prst="rect">
            <a:avLst/>
          </a:prstGeom>
          <a:noFill/>
        </p:spPr>
        <p:txBody>
          <a:bodyPr wrap="square" lIns="0" tIns="0" rIns="0" bIns="0" rtlCol="0" anchor="ctr">
            <a:spAutoFit/>
          </a:bodyPr>
          <a:lstStyle/>
          <a:p>
            <a:pPr>
              <a:spcAft>
                <a:spcPts val="600"/>
              </a:spcAft>
            </a:pPr>
            <a:r>
              <a:rPr lang="en-US" sz="2400"/>
              <a:t>Lesson 3: Open source software</a:t>
            </a:r>
          </a:p>
        </p:txBody>
      </p:sp>
      <p:cxnSp>
        <p:nvCxnSpPr>
          <p:cNvPr id="27" name="Straight Connector 26">
            <a:extLst>
              <a:ext uri="{FF2B5EF4-FFF2-40B4-BE49-F238E27FC236}">
                <a16:creationId xmlns:a16="http://schemas.microsoft.com/office/drawing/2014/main" id="{CCEDCCE7-A453-41AE-9816-280307C8CFDF}"/>
              </a:ext>
              <a:ext uri="{C183D7F6-B498-43B3-948B-1728B52AA6E4}">
                <adec:decorative xmlns:adec="http://schemas.microsoft.com/office/drawing/2017/decorative" val="1"/>
              </a:ext>
            </a:extLst>
          </p:cNvPr>
          <p:cNvCxnSpPr>
            <a:cxnSpLocks/>
          </p:cNvCxnSpPr>
          <p:nvPr/>
        </p:nvCxnSpPr>
        <p:spPr>
          <a:xfrm>
            <a:off x="1648212" y="5008869"/>
            <a:ext cx="446230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95" name="Picture 94" descr="Icon of a closed and open bracket">
            <a:extLst>
              <a:ext uri="{FF2B5EF4-FFF2-40B4-BE49-F238E27FC236}">
                <a16:creationId xmlns:a16="http://schemas.microsoft.com/office/drawing/2014/main" id="{AFC64034-D953-4B56-A24F-A5D81664E26C}"/>
              </a:ext>
            </a:extLst>
          </p:cNvPr>
          <p:cNvPicPr>
            <a:picLocks noChangeAspect="1"/>
          </p:cNvPicPr>
          <p:nvPr/>
        </p:nvPicPr>
        <p:blipFill>
          <a:blip r:embed="rId6"/>
          <a:stretch>
            <a:fillRect/>
          </a:stretch>
        </p:blipFill>
        <p:spPr>
          <a:xfrm>
            <a:off x="461758" y="5193659"/>
            <a:ext cx="952500" cy="952500"/>
          </a:xfrm>
          <a:prstGeom prst="rect">
            <a:avLst/>
          </a:prstGeom>
        </p:spPr>
      </p:pic>
      <p:sp>
        <p:nvSpPr>
          <p:cNvPr id="29" name="TextBox 28">
            <a:extLst>
              <a:ext uri="{FF2B5EF4-FFF2-40B4-BE49-F238E27FC236}">
                <a16:creationId xmlns:a16="http://schemas.microsoft.com/office/drawing/2014/main" id="{E517C8BE-4E29-48EB-B8FD-BE1245CDEF24}"/>
              </a:ext>
            </a:extLst>
          </p:cNvPr>
          <p:cNvSpPr txBox="1"/>
          <p:nvPr/>
        </p:nvSpPr>
        <p:spPr>
          <a:xfrm>
            <a:off x="1648212" y="5301339"/>
            <a:ext cx="4462302" cy="738664"/>
          </a:xfrm>
          <a:prstGeom prst="rect">
            <a:avLst/>
          </a:prstGeom>
          <a:noFill/>
        </p:spPr>
        <p:txBody>
          <a:bodyPr wrap="square" lIns="0" tIns="0" rIns="0" bIns="0" rtlCol="0" anchor="ctr">
            <a:spAutoFit/>
          </a:bodyPr>
          <a:lstStyle/>
          <a:p>
            <a:pPr>
              <a:spcAft>
                <a:spcPts val="600"/>
              </a:spcAft>
            </a:pPr>
            <a:r>
              <a:rPr lang="en-US" sz="2400"/>
              <a:t>Lesson 4: Integrating license and vulnerability scans</a:t>
            </a:r>
          </a:p>
        </p:txBody>
      </p:sp>
      <p:pic>
        <p:nvPicPr>
          <p:cNvPr id="84" name="Picture 83" descr="Icon of a screen with filled chart ">
            <a:extLst>
              <a:ext uri="{FF2B5EF4-FFF2-40B4-BE49-F238E27FC236}">
                <a16:creationId xmlns:a16="http://schemas.microsoft.com/office/drawing/2014/main" id="{7174BE4C-88AE-4750-B1AF-7A97965DB966}"/>
              </a:ext>
            </a:extLst>
          </p:cNvPr>
          <p:cNvPicPr>
            <a:picLocks noChangeAspect="1"/>
          </p:cNvPicPr>
          <p:nvPr/>
        </p:nvPicPr>
        <p:blipFill>
          <a:blip r:embed="rId7"/>
          <a:stretch>
            <a:fillRect/>
          </a:stretch>
        </p:blipFill>
        <p:spPr>
          <a:xfrm>
            <a:off x="6353033" y="1224381"/>
            <a:ext cx="952500" cy="952500"/>
          </a:xfrm>
          <a:prstGeom prst="rect">
            <a:avLst/>
          </a:prstGeom>
        </p:spPr>
      </p:pic>
      <p:sp>
        <p:nvSpPr>
          <p:cNvPr id="47" name="TextBox 46">
            <a:extLst>
              <a:ext uri="{FF2B5EF4-FFF2-40B4-BE49-F238E27FC236}">
                <a16:creationId xmlns:a16="http://schemas.microsoft.com/office/drawing/2014/main" id="{C0E82381-8AA6-4B2A-B6FC-40C7E25798D6}"/>
              </a:ext>
            </a:extLst>
          </p:cNvPr>
          <p:cNvSpPr txBox="1"/>
          <p:nvPr/>
        </p:nvSpPr>
        <p:spPr>
          <a:xfrm>
            <a:off x="7541011" y="1330537"/>
            <a:ext cx="4462302" cy="738664"/>
          </a:xfrm>
          <a:prstGeom prst="rect">
            <a:avLst/>
          </a:prstGeom>
          <a:noFill/>
        </p:spPr>
        <p:txBody>
          <a:bodyPr wrap="square" lIns="0" tIns="0" rIns="0" bIns="0" rtlCol="0" anchor="ctr">
            <a:spAutoFit/>
          </a:bodyPr>
          <a:lstStyle/>
          <a:p>
            <a:pPr>
              <a:spcAft>
                <a:spcPts val="600"/>
              </a:spcAft>
            </a:pPr>
            <a:r>
              <a:rPr lang="en-US" sz="2400"/>
              <a:t>Lesson 5: Implement a versioning strategy </a:t>
            </a:r>
          </a:p>
        </p:txBody>
      </p:sp>
      <p:cxnSp>
        <p:nvCxnSpPr>
          <p:cNvPr id="48" name="Straight Connector 47">
            <a:extLst>
              <a:ext uri="{FF2B5EF4-FFF2-40B4-BE49-F238E27FC236}">
                <a16:creationId xmlns:a16="http://schemas.microsoft.com/office/drawing/2014/main" id="{3C1E44B0-0728-4B3D-A558-A213BD24AC5A}"/>
              </a:ext>
              <a:ext uri="{C183D7F6-B498-43B3-948B-1728B52AA6E4}">
                <adec:decorative xmlns:adec="http://schemas.microsoft.com/office/drawing/2017/decorative" val="1"/>
              </a:ext>
            </a:extLst>
          </p:cNvPr>
          <p:cNvCxnSpPr>
            <a:cxnSpLocks/>
          </p:cNvCxnSpPr>
          <p:nvPr/>
        </p:nvCxnSpPr>
        <p:spPr>
          <a:xfrm>
            <a:off x="7541011" y="2361669"/>
            <a:ext cx="446230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99" name="Picture 98" descr="Icon of a lab flask">
            <a:extLst>
              <a:ext uri="{FF2B5EF4-FFF2-40B4-BE49-F238E27FC236}">
                <a16:creationId xmlns:a16="http://schemas.microsoft.com/office/drawing/2014/main" id="{DB2B5E74-B89A-4EFB-A96E-69659CF24A27}"/>
              </a:ext>
            </a:extLst>
          </p:cNvPr>
          <p:cNvPicPr>
            <a:picLocks noChangeAspect="1"/>
          </p:cNvPicPr>
          <p:nvPr/>
        </p:nvPicPr>
        <p:blipFill>
          <a:blip r:embed="rId8"/>
          <a:stretch>
            <a:fillRect/>
          </a:stretch>
        </p:blipFill>
        <p:spPr>
          <a:xfrm>
            <a:off x="6353033" y="2547981"/>
            <a:ext cx="952500" cy="952500"/>
          </a:xfrm>
          <a:prstGeom prst="rect">
            <a:avLst/>
          </a:prstGeom>
        </p:spPr>
      </p:pic>
      <p:sp>
        <p:nvSpPr>
          <p:cNvPr id="49" name="TextBox 48">
            <a:extLst>
              <a:ext uri="{FF2B5EF4-FFF2-40B4-BE49-F238E27FC236}">
                <a16:creationId xmlns:a16="http://schemas.microsoft.com/office/drawing/2014/main" id="{B97F0747-BED8-473E-ADF5-83F76670EF11}"/>
              </a:ext>
            </a:extLst>
          </p:cNvPr>
          <p:cNvSpPr txBox="1"/>
          <p:nvPr/>
        </p:nvSpPr>
        <p:spPr>
          <a:xfrm>
            <a:off x="7541011" y="2838803"/>
            <a:ext cx="4462302" cy="369332"/>
          </a:xfrm>
          <a:prstGeom prst="rect">
            <a:avLst/>
          </a:prstGeom>
          <a:noFill/>
        </p:spPr>
        <p:txBody>
          <a:bodyPr wrap="square" lIns="0" tIns="0" rIns="0" bIns="0" rtlCol="0" anchor="ctr">
            <a:spAutoFit/>
          </a:bodyPr>
          <a:lstStyle/>
          <a:p>
            <a:pPr>
              <a:spcAft>
                <a:spcPts val="600"/>
              </a:spcAft>
            </a:pPr>
            <a:r>
              <a:rPr lang="en-US" sz="2400"/>
              <a:t>Lesson 6: Lab</a:t>
            </a:r>
          </a:p>
        </p:txBody>
      </p:sp>
      <p:cxnSp>
        <p:nvCxnSpPr>
          <p:cNvPr id="50" name="Straight Connector 49">
            <a:extLst>
              <a:ext uri="{FF2B5EF4-FFF2-40B4-BE49-F238E27FC236}">
                <a16:creationId xmlns:a16="http://schemas.microsoft.com/office/drawing/2014/main" id="{DE51271D-8F95-410D-8599-972336ADA447}"/>
              </a:ext>
              <a:ext uri="{C183D7F6-B498-43B3-948B-1728B52AA6E4}">
                <adec:decorative xmlns:adec="http://schemas.microsoft.com/office/drawing/2017/decorative" val="1"/>
              </a:ext>
            </a:extLst>
          </p:cNvPr>
          <p:cNvCxnSpPr>
            <a:cxnSpLocks/>
          </p:cNvCxnSpPr>
          <p:nvPr/>
        </p:nvCxnSpPr>
        <p:spPr>
          <a:xfrm>
            <a:off x="7541011" y="3685269"/>
            <a:ext cx="446230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03" name="Picture 102" descr="Icon of a document with a checkmark">
            <a:extLst>
              <a:ext uri="{FF2B5EF4-FFF2-40B4-BE49-F238E27FC236}">
                <a16:creationId xmlns:a16="http://schemas.microsoft.com/office/drawing/2014/main" id="{DB2E0F87-D44B-41A1-B051-D2F17123CE53}"/>
              </a:ext>
            </a:extLst>
          </p:cNvPr>
          <p:cNvPicPr>
            <a:picLocks noChangeAspect="1"/>
          </p:cNvPicPr>
          <p:nvPr/>
        </p:nvPicPr>
        <p:blipFill>
          <a:blip r:embed="rId9"/>
          <a:stretch>
            <a:fillRect/>
          </a:stretch>
        </p:blipFill>
        <p:spPr>
          <a:xfrm>
            <a:off x="6353033" y="3870057"/>
            <a:ext cx="952500" cy="952500"/>
          </a:xfrm>
          <a:prstGeom prst="rect">
            <a:avLst/>
          </a:prstGeom>
        </p:spPr>
      </p:pic>
      <p:sp>
        <p:nvSpPr>
          <p:cNvPr id="51" name="TextBox 50">
            <a:extLst>
              <a:ext uri="{FF2B5EF4-FFF2-40B4-BE49-F238E27FC236}">
                <a16:creationId xmlns:a16="http://schemas.microsoft.com/office/drawing/2014/main" id="{A54F957B-AA15-4349-9AAE-629C953DB655}"/>
              </a:ext>
            </a:extLst>
          </p:cNvPr>
          <p:cNvSpPr txBox="1"/>
          <p:nvPr/>
        </p:nvSpPr>
        <p:spPr>
          <a:xfrm>
            <a:off x="7541011" y="3977737"/>
            <a:ext cx="4462302" cy="738664"/>
          </a:xfrm>
          <a:prstGeom prst="rect">
            <a:avLst/>
          </a:prstGeom>
          <a:noFill/>
        </p:spPr>
        <p:txBody>
          <a:bodyPr wrap="square" lIns="0" tIns="0" rIns="0" bIns="0" rtlCol="0" anchor="ctr">
            <a:spAutoFit/>
          </a:bodyPr>
          <a:lstStyle/>
          <a:p>
            <a:pPr>
              <a:spcAft>
                <a:spcPts val="600"/>
              </a:spcAft>
            </a:pPr>
            <a:r>
              <a:rPr lang="en-US" sz="2400"/>
              <a:t>Lesson 7: Module review</a:t>
            </a:r>
            <a:br>
              <a:rPr lang="en-US" sz="2400"/>
            </a:br>
            <a:r>
              <a:rPr lang="en-US" sz="2400"/>
              <a:t>and takeaways</a:t>
            </a:r>
          </a:p>
        </p:txBody>
      </p:sp>
    </p:spTree>
    <p:extLst>
      <p:ext uri="{BB962C8B-B14F-4D97-AF65-F5344CB8AC3E}">
        <p14:creationId xmlns:p14="http://schemas.microsoft.com/office/powerpoint/2010/main" val="205280176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E00F7-426C-4FF1-A295-6EEA3032783F}"/>
              </a:ext>
            </a:extLst>
          </p:cNvPr>
          <p:cNvSpPr>
            <a:spLocks noGrp="1"/>
          </p:cNvSpPr>
          <p:nvPr>
            <p:ph type="title"/>
          </p:nvPr>
        </p:nvSpPr>
        <p:spPr>
          <a:xfrm>
            <a:off x="465138" y="632779"/>
            <a:ext cx="11533187" cy="411162"/>
          </a:xfrm>
        </p:spPr>
        <p:txBody>
          <a:bodyPr/>
          <a:lstStyle/>
          <a:p>
            <a:r>
              <a:rPr lang="en-US"/>
              <a:t>Promoting packages</a:t>
            </a:r>
          </a:p>
        </p:txBody>
      </p:sp>
      <p:sp>
        <p:nvSpPr>
          <p:cNvPr id="3" name="TextBox 2">
            <a:extLst>
              <a:ext uri="{FF2B5EF4-FFF2-40B4-BE49-F238E27FC236}">
                <a16:creationId xmlns:a16="http://schemas.microsoft.com/office/drawing/2014/main" id="{B8ABF363-E56B-4052-B6F4-FBC7420F77EF}"/>
              </a:ext>
            </a:extLst>
          </p:cNvPr>
          <p:cNvSpPr txBox="1">
            <a:spLocks/>
          </p:cNvSpPr>
          <p:nvPr/>
        </p:nvSpPr>
        <p:spPr>
          <a:xfrm>
            <a:off x="465138" y="1334400"/>
            <a:ext cx="4664075" cy="1437375"/>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defPPr>
              <a:defRPr lang="en-US"/>
            </a:defPPr>
            <a:lvl1pPr>
              <a:defRPr sz="2000">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a:solidFill>
                  <a:schemeClr val="tx1"/>
                </a:solidFill>
              </a:rPr>
              <a:t>Promote packages from @local view to other release views</a:t>
            </a:r>
          </a:p>
        </p:txBody>
      </p:sp>
      <p:sp>
        <p:nvSpPr>
          <p:cNvPr id="7" name="TextBox 6">
            <a:extLst>
              <a:ext uri="{FF2B5EF4-FFF2-40B4-BE49-F238E27FC236}">
                <a16:creationId xmlns:a16="http://schemas.microsoft.com/office/drawing/2014/main" id="{183F506C-D4ED-4DEA-BF1D-65A9E190186B}"/>
              </a:ext>
            </a:extLst>
          </p:cNvPr>
          <p:cNvSpPr txBox="1">
            <a:spLocks/>
          </p:cNvSpPr>
          <p:nvPr/>
        </p:nvSpPr>
        <p:spPr>
          <a:xfrm>
            <a:off x="5300663" y="1334400"/>
            <a:ext cx="6670674" cy="1437375"/>
          </a:xfrm>
          <a:prstGeom prst="rect">
            <a:avLst/>
          </a:prstGeom>
          <a:solidFill>
            <a:schemeClr val="bg1">
              <a:lumMod val="95000"/>
            </a:schemeClr>
          </a:solidFill>
          <a:ln>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effectLst/>
                <a:uLnTx/>
                <a:uFillTx/>
                <a:latin typeface="+mj-lt"/>
              </a:defRPr>
            </a:lvl1pPr>
            <a:lvl2pPr marL="0" marR="0" lvl="1" fontAlgn="auto">
              <a:lnSpc>
                <a:spcPct val="100000"/>
              </a:lnSpc>
              <a:spcBef>
                <a:spcPts val="400"/>
              </a:spcBef>
              <a:spcAft>
                <a:spcPts val="0"/>
              </a:spcAft>
              <a:buClrTx/>
              <a:buSzTx/>
              <a:buFontTx/>
              <a:buNone/>
              <a:tabLst/>
              <a:defRPr kumimoji="0" sz="2000" b="0" i="0" u="none" strike="noStrike" cap="none" spc="0" normalizeH="0" baseline="0">
                <a:ln>
                  <a:noFill/>
                </a:ln>
                <a:effectLst/>
                <a:uLnTx/>
                <a:uFillTx/>
                <a:latin typeface="Segoe UI"/>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a:solidFill>
                  <a:schemeClr val="tx1"/>
                </a:solidFill>
              </a:rPr>
              <a:t>Upstream sources will only be evaluated from @local view:</a:t>
            </a:r>
          </a:p>
          <a:p>
            <a:pPr lvl="1"/>
            <a:r>
              <a:rPr lang="en-US">
                <a:solidFill>
                  <a:schemeClr val="tx1"/>
                </a:solidFill>
              </a:rPr>
              <a:t>Only visible in other release views after being promoted</a:t>
            </a:r>
          </a:p>
        </p:txBody>
      </p:sp>
      <p:sp>
        <p:nvSpPr>
          <p:cNvPr id="16" name="Rectangle 15">
            <a:extLst>
              <a:ext uri="{FF2B5EF4-FFF2-40B4-BE49-F238E27FC236}">
                <a16:creationId xmlns:a16="http://schemas.microsoft.com/office/drawing/2014/main" id="{9D3FC70F-ED14-4C31-AFA9-BB0CA44C37BC}"/>
              </a:ext>
              <a:ext uri="{C183D7F6-B498-43B3-948B-1728B52AA6E4}">
                <adec:decorative xmlns:adec="http://schemas.microsoft.com/office/drawing/2017/decorative" val="1"/>
              </a:ext>
            </a:extLst>
          </p:cNvPr>
          <p:cNvSpPr/>
          <p:nvPr/>
        </p:nvSpPr>
        <p:spPr bwMode="auto">
          <a:xfrm>
            <a:off x="452438" y="2943226"/>
            <a:ext cx="11571287" cy="3100388"/>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a:solidFill>
                <a:schemeClr val="tx1"/>
              </a:solidFill>
              <a:ea typeface="Segoe UI" pitchFamily="34" charset="0"/>
              <a:cs typeface="Segoe UI" pitchFamily="34" charset="0"/>
            </a:endParaRPr>
          </a:p>
        </p:txBody>
      </p:sp>
      <p:grpSp>
        <p:nvGrpSpPr>
          <p:cNvPr id="10" name="Group 9" descr="An overview screenshot of Parts Unlimited, highlighting the Promote tab">
            <a:extLst>
              <a:ext uri="{FF2B5EF4-FFF2-40B4-BE49-F238E27FC236}">
                <a16:creationId xmlns:a16="http://schemas.microsoft.com/office/drawing/2014/main" id="{CB3F307C-CCB0-47E4-9990-2B3083510F1D}"/>
              </a:ext>
            </a:extLst>
          </p:cNvPr>
          <p:cNvGrpSpPr/>
          <p:nvPr/>
        </p:nvGrpSpPr>
        <p:grpSpPr>
          <a:xfrm>
            <a:off x="556757" y="3097212"/>
            <a:ext cx="7811539" cy="2015564"/>
            <a:chOff x="629328" y="3273085"/>
            <a:chExt cx="7811539" cy="2015564"/>
          </a:xfrm>
        </p:grpSpPr>
        <p:pic>
          <p:nvPicPr>
            <p:cNvPr id="5" name="Picture 4">
              <a:extLst>
                <a:ext uri="{FF2B5EF4-FFF2-40B4-BE49-F238E27FC236}">
                  <a16:creationId xmlns:a16="http://schemas.microsoft.com/office/drawing/2014/main" id="{4B80B36B-8256-4EC6-ABA3-A9E6A1A5252C}"/>
                </a:ext>
              </a:extLst>
            </p:cNvPr>
            <p:cNvPicPr>
              <a:picLocks noChangeAspect="1"/>
            </p:cNvPicPr>
            <p:nvPr/>
          </p:nvPicPr>
          <p:blipFill>
            <a:blip r:embed="rId2"/>
            <a:stretch>
              <a:fillRect/>
            </a:stretch>
          </p:blipFill>
          <p:spPr>
            <a:xfrm>
              <a:off x="629328" y="3273085"/>
              <a:ext cx="7811539" cy="2015564"/>
            </a:xfrm>
            <a:prstGeom prst="rect">
              <a:avLst/>
            </a:prstGeom>
          </p:spPr>
        </p:pic>
        <p:sp>
          <p:nvSpPr>
            <p:cNvPr id="6" name="Rectangle 5">
              <a:extLst>
                <a:ext uri="{FF2B5EF4-FFF2-40B4-BE49-F238E27FC236}">
                  <a16:creationId xmlns:a16="http://schemas.microsoft.com/office/drawing/2014/main" id="{52450C54-815C-4A37-B1E6-5139B4D08D89}"/>
                </a:ext>
              </a:extLst>
            </p:cNvPr>
            <p:cNvSpPr/>
            <p:nvPr/>
          </p:nvSpPr>
          <p:spPr bwMode="auto">
            <a:xfrm>
              <a:off x="4915145" y="3676650"/>
              <a:ext cx="964045" cy="32656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 name="Picture 3" descr="A screenshot of promoting this package">
            <a:extLst>
              <a:ext uri="{FF2B5EF4-FFF2-40B4-BE49-F238E27FC236}">
                <a16:creationId xmlns:a16="http://schemas.microsoft.com/office/drawing/2014/main" id="{0F76E945-5A01-4D51-B341-0BF35DA752D2}"/>
              </a:ext>
            </a:extLst>
          </p:cNvPr>
          <p:cNvPicPr>
            <a:picLocks noChangeAspect="1"/>
          </p:cNvPicPr>
          <p:nvPr/>
        </p:nvPicPr>
        <p:blipFill>
          <a:blip r:embed="rId3"/>
          <a:stretch>
            <a:fillRect/>
          </a:stretch>
        </p:blipFill>
        <p:spPr>
          <a:xfrm>
            <a:off x="8681565" y="3097212"/>
            <a:ext cx="3223138" cy="2807079"/>
          </a:xfrm>
          <a:prstGeom prst="rect">
            <a:avLst/>
          </a:prstGeom>
        </p:spPr>
      </p:pic>
    </p:spTree>
    <p:extLst>
      <p:ext uri="{BB962C8B-B14F-4D97-AF65-F5344CB8AC3E}">
        <p14:creationId xmlns:p14="http://schemas.microsoft.com/office/powerpoint/2010/main" val="16016459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A83E9-9D3F-4D27-92C5-3271240ED3D2}"/>
              </a:ext>
            </a:extLst>
          </p:cNvPr>
          <p:cNvSpPr>
            <a:spLocks noGrp="1"/>
          </p:cNvSpPr>
          <p:nvPr>
            <p:ph type="title"/>
          </p:nvPr>
        </p:nvSpPr>
        <p:spPr/>
        <p:txBody>
          <a:bodyPr/>
          <a:lstStyle/>
          <a:p>
            <a:r>
              <a:rPr lang="en-US"/>
              <a:t>Promoting a package</a:t>
            </a:r>
          </a:p>
        </p:txBody>
      </p:sp>
      <p:sp>
        <p:nvSpPr>
          <p:cNvPr id="8" name="Rectangle 7">
            <a:extLst>
              <a:ext uri="{FF2B5EF4-FFF2-40B4-BE49-F238E27FC236}">
                <a16:creationId xmlns:a16="http://schemas.microsoft.com/office/drawing/2014/main" id="{153BB59C-73F3-4C7F-BB12-2AB37BE921B8}"/>
              </a:ext>
            </a:extLst>
          </p:cNvPr>
          <p:cNvSpPr/>
          <p:nvPr/>
        </p:nvSpPr>
        <p:spPr>
          <a:xfrm>
            <a:off x="5452644" y="3484047"/>
            <a:ext cx="1531188" cy="646331"/>
          </a:xfrm>
          <a:prstGeom prst="rect">
            <a:avLst/>
          </a:prstGeom>
        </p:spPr>
        <p:txBody>
          <a:bodyPr wrap="square">
            <a:spAutoFit/>
          </a:bodyPr>
          <a:lstStyle/>
          <a:p>
            <a:pPr algn="ctr"/>
            <a:r>
              <a:rPr lang="en-US" sz="3600">
                <a:latin typeface="Segoe UI Semibold" panose="020B0702040204020203" pitchFamily="34" charset="0"/>
                <a:cs typeface="Segoe UI Semibold" panose="020B0702040204020203" pitchFamily="34" charset="0"/>
              </a:rPr>
              <a:t>DEMO</a:t>
            </a:r>
            <a:endParaRPr lang="en-US" sz="200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40843458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1B013-1649-4390-A1B0-0F9B7BCD22B3}"/>
              </a:ext>
            </a:extLst>
          </p:cNvPr>
          <p:cNvSpPr>
            <a:spLocks noGrp="1"/>
          </p:cNvSpPr>
          <p:nvPr>
            <p:ph type="title"/>
          </p:nvPr>
        </p:nvSpPr>
        <p:spPr/>
        <p:txBody>
          <a:bodyPr/>
          <a:lstStyle/>
          <a:p>
            <a:r>
              <a:rPr lang="en-US"/>
              <a:t>Best practices for versioning</a:t>
            </a:r>
          </a:p>
        </p:txBody>
      </p:sp>
      <p:pic>
        <p:nvPicPr>
          <p:cNvPr id="69" name="Picture 68" descr="Icon of a circle branched into three connect circles">
            <a:extLst>
              <a:ext uri="{FF2B5EF4-FFF2-40B4-BE49-F238E27FC236}">
                <a16:creationId xmlns:a16="http://schemas.microsoft.com/office/drawing/2014/main" id="{CEA2D256-A093-4839-B877-7FECEB5F0C63}"/>
              </a:ext>
            </a:extLst>
          </p:cNvPr>
          <p:cNvPicPr>
            <a:picLocks noChangeAspect="1"/>
          </p:cNvPicPr>
          <p:nvPr/>
        </p:nvPicPr>
        <p:blipFill>
          <a:blip r:embed="rId2"/>
          <a:stretch>
            <a:fillRect/>
          </a:stretch>
        </p:blipFill>
        <p:spPr>
          <a:xfrm>
            <a:off x="439738" y="1487488"/>
            <a:ext cx="954024" cy="952500"/>
          </a:xfrm>
          <a:prstGeom prst="rect">
            <a:avLst/>
          </a:prstGeom>
        </p:spPr>
      </p:pic>
      <p:sp>
        <p:nvSpPr>
          <p:cNvPr id="71" name="Rectangle 70">
            <a:extLst>
              <a:ext uri="{FF2B5EF4-FFF2-40B4-BE49-F238E27FC236}">
                <a16:creationId xmlns:a16="http://schemas.microsoft.com/office/drawing/2014/main" id="{2FFE6052-A5D0-4F67-8191-B56A8266178D}"/>
              </a:ext>
            </a:extLst>
          </p:cNvPr>
          <p:cNvSpPr/>
          <p:nvPr/>
        </p:nvSpPr>
        <p:spPr>
          <a:xfrm>
            <a:off x="1635847" y="1579732"/>
            <a:ext cx="9144000" cy="738664"/>
          </a:xfrm>
          <a:prstGeom prst="rect">
            <a:avLst/>
          </a:prstGeom>
        </p:spPr>
        <p:txBody>
          <a:bodyPr wrap="square" lIns="0" tIns="0" rIns="0" bIns="0" anchor="ctr">
            <a:spAutoFit/>
          </a:bodyPr>
          <a:lstStyle/>
          <a:p>
            <a:r>
              <a:rPr lang="en-US" sz="2400"/>
              <a:t>Have a documented versioning strategy</a:t>
            </a:r>
          </a:p>
        </p:txBody>
      </p:sp>
      <p:cxnSp>
        <p:nvCxnSpPr>
          <p:cNvPr id="72" name="Straight Connector 71">
            <a:extLst>
              <a:ext uri="{FF2B5EF4-FFF2-40B4-BE49-F238E27FC236}">
                <a16:creationId xmlns:a16="http://schemas.microsoft.com/office/drawing/2014/main" id="{1BCB0BA4-8EFA-4944-B961-440E6FD320F2}"/>
              </a:ext>
              <a:ext uri="{C183D7F6-B498-43B3-948B-1728B52AA6E4}">
                <adec:decorative xmlns:adec="http://schemas.microsoft.com/office/drawing/2017/decorative" val="1"/>
              </a:ext>
            </a:extLst>
          </p:cNvPr>
          <p:cNvCxnSpPr>
            <a:cxnSpLocks/>
          </p:cNvCxnSpPr>
          <p:nvPr/>
        </p:nvCxnSpPr>
        <p:spPr>
          <a:xfrm>
            <a:off x="1635848" y="2616111"/>
            <a:ext cx="1037359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4" name="Picture 73" descr="Icon of a circle depicting adoption">
            <a:extLst>
              <a:ext uri="{FF2B5EF4-FFF2-40B4-BE49-F238E27FC236}">
                <a16:creationId xmlns:a16="http://schemas.microsoft.com/office/drawing/2014/main" id="{75610433-DD06-49A8-B4EE-91F3BC6FCB69}"/>
              </a:ext>
            </a:extLst>
          </p:cNvPr>
          <p:cNvPicPr>
            <a:picLocks noChangeAspect="1"/>
          </p:cNvPicPr>
          <p:nvPr/>
        </p:nvPicPr>
        <p:blipFill>
          <a:blip r:embed="rId3"/>
          <a:stretch>
            <a:fillRect/>
          </a:stretch>
        </p:blipFill>
        <p:spPr>
          <a:xfrm>
            <a:off x="439062" y="2817521"/>
            <a:ext cx="954024" cy="952500"/>
          </a:xfrm>
          <a:prstGeom prst="rect">
            <a:avLst/>
          </a:prstGeom>
        </p:spPr>
      </p:pic>
      <p:sp>
        <p:nvSpPr>
          <p:cNvPr id="76" name="Rectangle 75">
            <a:extLst>
              <a:ext uri="{FF2B5EF4-FFF2-40B4-BE49-F238E27FC236}">
                <a16:creationId xmlns:a16="http://schemas.microsoft.com/office/drawing/2014/main" id="{18CA6651-E263-47D6-87C0-8DA037C03B47}"/>
              </a:ext>
            </a:extLst>
          </p:cNvPr>
          <p:cNvSpPr/>
          <p:nvPr/>
        </p:nvSpPr>
        <p:spPr>
          <a:xfrm>
            <a:off x="1635847" y="2906899"/>
            <a:ext cx="9144000" cy="738664"/>
          </a:xfrm>
          <a:prstGeom prst="rect">
            <a:avLst/>
          </a:prstGeom>
        </p:spPr>
        <p:txBody>
          <a:bodyPr wrap="square" lIns="0" tIns="0" rIns="0" bIns="0" anchor="ctr">
            <a:spAutoFit/>
          </a:bodyPr>
          <a:lstStyle/>
          <a:p>
            <a:r>
              <a:rPr lang="en-US" sz="2400"/>
              <a:t>Adopt </a:t>
            </a:r>
            <a:r>
              <a:rPr lang="en-US" sz="2400" err="1"/>
              <a:t>SemVer</a:t>
            </a:r>
            <a:r>
              <a:rPr lang="en-US" sz="2400"/>
              <a:t> 2.0 for your versioning scheme</a:t>
            </a:r>
          </a:p>
        </p:txBody>
      </p:sp>
      <p:cxnSp>
        <p:nvCxnSpPr>
          <p:cNvPr id="77" name="Straight Connector 76">
            <a:extLst>
              <a:ext uri="{FF2B5EF4-FFF2-40B4-BE49-F238E27FC236}">
                <a16:creationId xmlns:a16="http://schemas.microsoft.com/office/drawing/2014/main" id="{1C2D640B-139D-4416-8C92-ABF062EE21D6}"/>
              </a:ext>
              <a:ext uri="{C183D7F6-B498-43B3-948B-1728B52AA6E4}">
                <adec:decorative xmlns:adec="http://schemas.microsoft.com/office/drawing/2017/decorative" val="1"/>
              </a:ext>
            </a:extLst>
          </p:cNvPr>
          <p:cNvCxnSpPr>
            <a:cxnSpLocks/>
          </p:cNvCxnSpPr>
          <p:nvPr/>
        </p:nvCxnSpPr>
        <p:spPr>
          <a:xfrm>
            <a:off x="1635848" y="3941891"/>
            <a:ext cx="1037131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9" name="Picture 78" descr="Icon of a document">
            <a:extLst>
              <a:ext uri="{FF2B5EF4-FFF2-40B4-BE49-F238E27FC236}">
                <a16:creationId xmlns:a16="http://schemas.microsoft.com/office/drawing/2014/main" id="{6A1C0D09-F2C3-404A-A00D-79FF2E0D552E}"/>
              </a:ext>
            </a:extLst>
          </p:cNvPr>
          <p:cNvPicPr>
            <a:picLocks noChangeAspect="1"/>
          </p:cNvPicPr>
          <p:nvPr/>
        </p:nvPicPr>
        <p:blipFill>
          <a:blip r:embed="rId4"/>
          <a:stretch>
            <a:fillRect/>
          </a:stretch>
        </p:blipFill>
        <p:spPr>
          <a:xfrm>
            <a:off x="439062" y="4141713"/>
            <a:ext cx="954024" cy="952500"/>
          </a:xfrm>
          <a:prstGeom prst="rect">
            <a:avLst/>
          </a:prstGeom>
        </p:spPr>
      </p:pic>
      <p:sp>
        <p:nvSpPr>
          <p:cNvPr id="81" name="Rectangle 80">
            <a:extLst>
              <a:ext uri="{FF2B5EF4-FFF2-40B4-BE49-F238E27FC236}">
                <a16:creationId xmlns:a16="http://schemas.microsoft.com/office/drawing/2014/main" id="{E1802F40-CC85-47D4-BCBC-659F60732E37}"/>
              </a:ext>
            </a:extLst>
          </p:cNvPr>
          <p:cNvSpPr/>
          <p:nvPr/>
        </p:nvSpPr>
        <p:spPr>
          <a:xfrm>
            <a:off x="1635848" y="4234066"/>
            <a:ext cx="9144000" cy="738664"/>
          </a:xfrm>
          <a:prstGeom prst="rect">
            <a:avLst/>
          </a:prstGeom>
        </p:spPr>
        <p:txBody>
          <a:bodyPr wrap="square" lIns="0" tIns="0" rIns="0" bIns="0" anchor="ctr">
            <a:spAutoFit/>
          </a:bodyPr>
          <a:lstStyle/>
          <a:p>
            <a:r>
              <a:rPr lang="en-US" sz="2400"/>
              <a:t>Each repository should have a unique feed</a:t>
            </a:r>
          </a:p>
        </p:txBody>
      </p:sp>
      <p:cxnSp>
        <p:nvCxnSpPr>
          <p:cNvPr id="82" name="Straight Connector 81">
            <a:extLst>
              <a:ext uri="{FF2B5EF4-FFF2-40B4-BE49-F238E27FC236}">
                <a16:creationId xmlns:a16="http://schemas.microsoft.com/office/drawing/2014/main" id="{686E05EC-A36F-46CD-BE9D-5D32766C8348}"/>
              </a:ext>
              <a:ext uri="{C183D7F6-B498-43B3-948B-1728B52AA6E4}">
                <adec:decorative xmlns:adec="http://schemas.microsoft.com/office/drawing/2017/decorative" val="1"/>
              </a:ext>
            </a:extLst>
          </p:cNvPr>
          <p:cNvCxnSpPr>
            <a:cxnSpLocks/>
          </p:cNvCxnSpPr>
          <p:nvPr/>
        </p:nvCxnSpPr>
        <p:spPr>
          <a:xfrm>
            <a:off x="1635848" y="5267671"/>
            <a:ext cx="1034914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4" name="Picture 83" descr="Icon of check mark enclosed by an arc">
            <a:extLst>
              <a:ext uri="{FF2B5EF4-FFF2-40B4-BE49-F238E27FC236}">
                <a16:creationId xmlns:a16="http://schemas.microsoft.com/office/drawing/2014/main" id="{59F22D1A-02A6-48C8-B25B-B75338A2366D}"/>
              </a:ext>
            </a:extLst>
          </p:cNvPr>
          <p:cNvPicPr>
            <a:picLocks noChangeAspect="1"/>
          </p:cNvPicPr>
          <p:nvPr/>
        </p:nvPicPr>
        <p:blipFill>
          <a:blip r:embed="rId5"/>
          <a:stretch>
            <a:fillRect/>
          </a:stretch>
        </p:blipFill>
        <p:spPr>
          <a:xfrm>
            <a:off x="439062" y="5467495"/>
            <a:ext cx="954024" cy="952500"/>
          </a:xfrm>
          <a:prstGeom prst="rect">
            <a:avLst/>
          </a:prstGeom>
        </p:spPr>
      </p:pic>
      <p:sp>
        <p:nvSpPr>
          <p:cNvPr id="86" name="Rectangle 85">
            <a:extLst>
              <a:ext uri="{FF2B5EF4-FFF2-40B4-BE49-F238E27FC236}">
                <a16:creationId xmlns:a16="http://schemas.microsoft.com/office/drawing/2014/main" id="{26053DB1-CC8D-4CBC-9B23-21229072A545}"/>
              </a:ext>
            </a:extLst>
          </p:cNvPr>
          <p:cNvSpPr/>
          <p:nvPr/>
        </p:nvSpPr>
        <p:spPr>
          <a:xfrm>
            <a:off x="1635848" y="5561232"/>
            <a:ext cx="9144000" cy="738664"/>
          </a:xfrm>
          <a:prstGeom prst="rect">
            <a:avLst/>
          </a:prstGeom>
        </p:spPr>
        <p:txBody>
          <a:bodyPr wrap="square" lIns="0" tIns="0" rIns="0" bIns="0" anchor="ctr">
            <a:spAutoFit/>
          </a:bodyPr>
          <a:lstStyle/>
          <a:p>
            <a:r>
              <a:rPr lang="en-US" sz="2400"/>
              <a:t>When creating a package, also publish it to the unique feed</a:t>
            </a:r>
          </a:p>
        </p:txBody>
      </p:sp>
    </p:spTree>
    <p:extLst>
      <p:ext uri="{BB962C8B-B14F-4D97-AF65-F5344CB8AC3E}">
        <p14:creationId xmlns:p14="http://schemas.microsoft.com/office/powerpoint/2010/main" val="13019724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A83E9-9D3F-4D27-92C5-3271240ED3D2}"/>
              </a:ext>
            </a:extLst>
          </p:cNvPr>
          <p:cNvSpPr>
            <a:spLocks noGrp="1"/>
          </p:cNvSpPr>
          <p:nvPr>
            <p:ph type="title"/>
          </p:nvPr>
        </p:nvSpPr>
        <p:spPr/>
        <p:txBody>
          <a:bodyPr/>
          <a:lstStyle/>
          <a:p>
            <a:r>
              <a:rPr lang="en-US"/>
              <a:t>Pushing from the pipeline</a:t>
            </a:r>
          </a:p>
        </p:txBody>
      </p:sp>
      <p:sp>
        <p:nvSpPr>
          <p:cNvPr id="6" name="Rectangle 5">
            <a:extLst>
              <a:ext uri="{FF2B5EF4-FFF2-40B4-BE49-F238E27FC236}">
                <a16:creationId xmlns:a16="http://schemas.microsoft.com/office/drawing/2014/main" id="{8A9AA94F-D3FC-4A69-BFA5-4EE42447E1F1}"/>
              </a:ext>
            </a:extLst>
          </p:cNvPr>
          <p:cNvSpPr/>
          <p:nvPr/>
        </p:nvSpPr>
        <p:spPr>
          <a:xfrm>
            <a:off x="5452644" y="3312597"/>
            <a:ext cx="1531188" cy="646331"/>
          </a:xfrm>
          <a:prstGeom prst="rect">
            <a:avLst/>
          </a:prstGeom>
        </p:spPr>
        <p:txBody>
          <a:bodyPr wrap="square">
            <a:spAutoFit/>
          </a:bodyPr>
          <a:lstStyle/>
          <a:p>
            <a:pPr algn="ctr"/>
            <a:r>
              <a:rPr lang="en-US" sz="3600">
                <a:latin typeface="Segoe UI Semibold" panose="020B0702040204020203" pitchFamily="34" charset="0"/>
                <a:cs typeface="Segoe UI Semibold" panose="020B0702040204020203" pitchFamily="34" charset="0"/>
              </a:rPr>
              <a:t>DEMO</a:t>
            </a:r>
            <a:endParaRPr lang="en-US" sz="200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89646665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6: Lab</a:t>
            </a:r>
          </a:p>
        </p:txBody>
      </p:sp>
      <p:pic>
        <p:nvPicPr>
          <p:cNvPr id="3" name="Picture 2" descr="Icon of a lab flask">
            <a:extLst>
              <a:ext uri="{FF2B5EF4-FFF2-40B4-BE49-F238E27FC236}">
                <a16:creationId xmlns:a16="http://schemas.microsoft.com/office/drawing/2014/main" id="{F6DA0743-00B1-4C27-8265-AABACB262B70}"/>
              </a:ext>
            </a:extLst>
          </p:cNvPr>
          <p:cNvPicPr>
            <a:picLocks noChangeAspect="1"/>
          </p:cNvPicPr>
          <p:nvPr/>
        </p:nvPicPr>
        <p:blipFill>
          <a:blip r:embed="rId2"/>
          <a:stretch>
            <a:fillRect/>
          </a:stretch>
        </p:blipFill>
        <p:spPr>
          <a:xfrm>
            <a:off x="10491965" y="2908300"/>
            <a:ext cx="815620" cy="1186180"/>
          </a:xfrm>
          <a:prstGeom prst="rect">
            <a:avLst/>
          </a:prstGeom>
        </p:spPr>
      </p:pic>
    </p:spTree>
    <p:extLst>
      <p:ext uri="{BB962C8B-B14F-4D97-AF65-F5344CB8AC3E}">
        <p14:creationId xmlns:p14="http://schemas.microsoft.com/office/powerpoint/2010/main" val="319884609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D2504-CD52-4530-95A0-64324BCD7B4B}"/>
              </a:ext>
            </a:extLst>
          </p:cNvPr>
          <p:cNvSpPr>
            <a:spLocks noGrp="1"/>
          </p:cNvSpPr>
          <p:nvPr>
            <p:ph type="title"/>
          </p:nvPr>
        </p:nvSpPr>
        <p:spPr>
          <a:xfrm>
            <a:off x="465138" y="632779"/>
            <a:ext cx="11533187" cy="411162"/>
          </a:xfrm>
        </p:spPr>
        <p:txBody>
          <a:bodyPr/>
          <a:lstStyle/>
          <a:p>
            <a:r>
              <a:rPr lang="en-US"/>
              <a:t>Lab: Manage open source security and license with white source</a:t>
            </a:r>
          </a:p>
        </p:txBody>
      </p:sp>
      <p:sp>
        <p:nvSpPr>
          <p:cNvPr id="6" name="TextBox 5">
            <a:extLst>
              <a:ext uri="{FF2B5EF4-FFF2-40B4-BE49-F238E27FC236}">
                <a16:creationId xmlns:a16="http://schemas.microsoft.com/office/drawing/2014/main" id="{BCEDA91E-F715-4FF8-A6FD-E5FC23FA6F0E}"/>
              </a:ext>
            </a:extLst>
          </p:cNvPr>
          <p:cNvSpPr txBox="1">
            <a:spLocks/>
          </p:cNvSpPr>
          <p:nvPr/>
        </p:nvSpPr>
        <p:spPr>
          <a:xfrm>
            <a:off x="457200" y="1217612"/>
            <a:ext cx="11569068" cy="1754188"/>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defRPr sz="20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a:solidFill>
                  <a:schemeClr val="tx1"/>
                </a:solidFill>
              </a:rPr>
              <a:t>In this lab, </a:t>
            </a:r>
            <a:r>
              <a:rPr lang="en-US" sz="2400">
                <a:solidFill>
                  <a:schemeClr val="tx2"/>
                </a:solidFill>
                <a:hlinkClick r:id="rId3">
                  <a:extLst>
                    <a:ext uri="{A12FA001-AC4F-418D-AE19-62706E023703}">
                      <ahyp:hlinkClr xmlns:ahyp="http://schemas.microsoft.com/office/drawing/2018/hyperlinkcolor" val="tx"/>
                    </a:ext>
                  </a:extLst>
                </a:hlinkClick>
              </a:rPr>
              <a:t>Managing Open-Source Security and License with </a:t>
            </a:r>
            <a:r>
              <a:rPr lang="en-US" sz="2400" err="1">
                <a:solidFill>
                  <a:schemeClr val="tx2"/>
                </a:solidFill>
                <a:hlinkClick r:id="rId3">
                  <a:extLst>
                    <a:ext uri="{A12FA001-AC4F-418D-AE19-62706E023703}">
                      <ahyp:hlinkClr xmlns:ahyp="http://schemas.microsoft.com/office/drawing/2018/hyperlinkcolor" val="tx"/>
                    </a:ext>
                  </a:extLst>
                </a:hlinkClick>
              </a:rPr>
              <a:t>Whitesource</a:t>
            </a:r>
            <a:r>
              <a:rPr lang="en-US" sz="2400">
                <a:solidFill>
                  <a:schemeClr val="tx1"/>
                </a:solidFill>
              </a:rPr>
              <a:t>, you will use White Source Bolt with Azure DevOps to automatically detect alerts on vulnerable open source components, outdated libraries, and license compliance issues in your code. You will be using Web Goat, a deliberately insecure web application, maintained by OWASP designed to teach web application security lessons. You will learn how to:</a:t>
            </a:r>
          </a:p>
        </p:txBody>
      </p:sp>
      <p:sp>
        <p:nvSpPr>
          <p:cNvPr id="5" name="Rectangle 4">
            <a:extLst>
              <a:ext uri="{FF2B5EF4-FFF2-40B4-BE49-F238E27FC236}">
                <a16:creationId xmlns:a16="http://schemas.microsoft.com/office/drawing/2014/main" id="{9B64FB36-1A1E-4330-A042-15884D13529D}"/>
              </a:ext>
            </a:extLst>
          </p:cNvPr>
          <p:cNvSpPr/>
          <p:nvPr/>
        </p:nvSpPr>
        <p:spPr bwMode="auto">
          <a:xfrm>
            <a:off x="427035" y="3252787"/>
            <a:ext cx="5691189" cy="1047007"/>
          </a:xfrm>
          <a:prstGeom prst="rect">
            <a:avLst/>
          </a:prstGeom>
          <a:solidFill>
            <a:srgbClr val="243A5E"/>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000">
                <a:latin typeface="+mj-lt"/>
                <a:cs typeface="Segoe UI Semilight"/>
              </a:rPr>
              <a:t>Detect and remedy vulnerable open source components</a:t>
            </a:r>
          </a:p>
        </p:txBody>
      </p:sp>
      <p:sp>
        <p:nvSpPr>
          <p:cNvPr id="9" name="Rectangle 8">
            <a:extLst>
              <a:ext uri="{FF2B5EF4-FFF2-40B4-BE49-F238E27FC236}">
                <a16:creationId xmlns:a16="http://schemas.microsoft.com/office/drawing/2014/main" id="{2F5B608C-2D7F-4084-9F8A-3C0EDD11A365}"/>
              </a:ext>
            </a:extLst>
          </p:cNvPr>
          <p:cNvSpPr/>
          <p:nvPr/>
        </p:nvSpPr>
        <p:spPr bwMode="auto">
          <a:xfrm>
            <a:off x="6307593" y="3252787"/>
            <a:ext cx="5687568" cy="1047007"/>
          </a:xfrm>
          <a:prstGeom prst="rect">
            <a:avLst/>
          </a:prstGeom>
          <a:solidFill>
            <a:srgbClr val="243A5E"/>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000">
                <a:latin typeface="+mj-lt"/>
                <a:cs typeface="Segoe UI Semilight"/>
              </a:rPr>
              <a:t>Generate comprehensive open source inventory reports per project or build</a:t>
            </a:r>
          </a:p>
        </p:txBody>
      </p:sp>
      <p:sp>
        <p:nvSpPr>
          <p:cNvPr id="11" name="Rectangle 10">
            <a:extLst>
              <a:ext uri="{FF2B5EF4-FFF2-40B4-BE49-F238E27FC236}">
                <a16:creationId xmlns:a16="http://schemas.microsoft.com/office/drawing/2014/main" id="{28B7A35C-8E03-42B5-81F7-C3736CC99B15}"/>
              </a:ext>
            </a:extLst>
          </p:cNvPr>
          <p:cNvSpPr/>
          <p:nvPr/>
        </p:nvSpPr>
        <p:spPr bwMode="auto">
          <a:xfrm>
            <a:off x="427035" y="4506070"/>
            <a:ext cx="5691189" cy="1047007"/>
          </a:xfrm>
          <a:prstGeom prst="rect">
            <a:avLst/>
          </a:prstGeom>
          <a:solidFill>
            <a:srgbClr val="243A5E"/>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000">
                <a:latin typeface="+mj-lt"/>
                <a:cs typeface="Segoe UI Semilight"/>
              </a:rPr>
              <a:t>Enforce open source license compliance, including dependencies’ licenses</a:t>
            </a:r>
          </a:p>
        </p:txBody>
      </p:sp>
      <p:sp>
        <p:nvSpPr>
          <p:cNvPr id="13" name="Rectangle 12">
            <a:extLst>
              <a:ext uri="{FF2B5EF4-FFF2-40B4-BE49-F238E27FC236}">
                <a16:creationId xmlns:a16="http://schemas.microsoft.com/office/drawing/2014/main" id="{64FD3657-00C1-4E3E-94CC-D964C4FF9459}"/>
              </a:ext>
            </a:extLst>
          </p:cNvPr>
          <p:cNvSpPr/>
          <p:nvPr/>
        </p:nvSpPr>
        <p:spPr bwMode="auto">
          <a:xfrm>
            <a:off x="6307593" y="4506070"/>
            <a:ext cx="5687568" cy="1047007"/>
          </a:xfrm>
          <a:prstGeom prst="rect">
            <a:avLst/>
          </a:prstGeom>
          <a:solidFill>
            <a:srgbClr val="243A5E"/>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000">
                <a:latin typeface="+mj-lt"/>
                <a:cs typeface="Segoe UI Semilight"/>
              </a:rPr>
              <a:t>Identify outdated open source libraries with recommendation to update </a:t>
            </a:r>
          </a:p>
        </p:txBody>
      </p:sp>
      <p:pic>
        <p:nvPicPr>
          <p:cNvPr id="10" name="Picture 9" descr="A tick mark">
            <a:extLst>
              <a:ext uri="{FF2B5EF4-FFF2-40B4-BE49-F238E27FC236}">
                <a16:creationId xmlns:a16="http://schemas.microsoft.com/office/drawing/2014/main" id="{63E50EEE-648C-4446-92D1-89C5AA185863}"/>
              </a:ext>
            </a:extLst>
          </p:cNvPr>
          <p:cNvPicPr>
            <a:picLocks noChangeAspect="1"/>
          </p:cNvPicPr>
          <p:nvPr/>
        </p:nvPicPr>
        <p:blipFill>
          <a:blip r:embed="rId4"/>
          <a:stretch>
            <a:fillRect/>
          </a:stretch>
        </p:blipFill>
        <p:spPr>
          <a:xfrm>
            <a:off x="427038" y="6212113"/>
            <a:ext cx="786452" cy="780356"/>
          </a:xfrm>
          <a:prstGeom prst="rect">
            <a:avLst/>
          </a:prstGeom>
        </p:spPr>
      </p:pic>
      <p:sp>
        <p:nvSpPr>
          <p:cNvPr id="4" name="Freeform: Shape 3">
            <a:extLst>
              <a:ext uri="{FF2B5EF4-FFF2-40B4-BE49-F238E27FC236}">
                <a16:creationId xmlns:a16="http://schemas.microsoft.com/office/drawing/2014/main" id="{1B134F87-0568-4EC0-A190-9CDEFEF46D6F}"/>
              </a:ext>
            </a:extLst>
          </p:cNvPr>
          <p:cNvSpPr/>
          <p:nvPr/>
        </p:nvSpPr>
        <p:spPr bwMode="auto">
          <a:xfrm>
            <a:off x="0" y="6212113"/>
            <a:ext cx="12436475" cy="782411"/>
          </a:xfrm>
          <a:custGeom>
            <a:avLst/>
            <a:gdLst>
              <a:gd name="connsiteX0" fmla="*/ 1213422 w 12436475"/>
              <a:gd name="connsiteY0" fmla="*/ 0 h 782411"/>
              <a:gd name="connsiteX1" fmla="*/ 12436475 w 12436475"/>
              <a:gd name="connsiteY1" fmla="*/ 0 h 782411"/>
              <a:gd name="connsiteX2" fmla="*/ 12436475 w 12436475"/>
              <a:gd name="connsiteY2" fmla="*/ 782411 h 782411"/>
              <a:gd name="connsiteX3" fmla="*/ 1213422 w 12436475"/>
              <a:gd name="connsiteY3" fmla="*/ 782411 h 782411"/>
              <a:gd name="connsiteX4" fmla="*/ 0 w 12436475"/>
              <a:gd name="connsiteY4" fmla="*/ 0 h 782411"/>
              <a:gd name="connsiteX5" fmla="*/ 427038 w 12436475"/>
              <a:gd name="connsiteY5" fmla="*/ 0 h 782411"/>
              <a:gd name="connsiteX6" fmla="*/ 427038 w 12436475"/>
              <a:gd name="connsiteY6" fmla="*/ 782411 h 782411"/>
              <a:gd name="connsiteX7" fmla="*/ 0 w 12436475"/>
              <a:gd name="connsiteY7" fmla="*/ 782411 h 7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782411">
                <a:moveTo>
                  <a:pt x="1213422" y="0"/>
                </a:moveTo>
                <a:lnTo>
                  <a:pt x="12436475" y="0"/>
                </a:lnTo>
                <a:lnTo>
                  <a:pt x="12436475" y="782411"/>
                </a:lnTo>
                <a:lnTo>
                  <a:pt x="1213422" y="782411"/>
                </a:lnTo>
                <a:close/>
                <a:moveTo>
                  <a:pt x="0" y="0"/>
                </a:moveTo>
                <a:lnTo>
                  <a:pt x="427038" y="0"/>
                </a:lnTo>
                <a:lnTo>
                  <a:pt x="427038" y="782411"/>
                </a:lnTo>
                <a:lnTo>
                  <a:pt x="0" y="782411"/>
                </a:lnTo>
                <a:close/>
              </a:path>
            </a:pathLst>
          </a:cu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a:solidFill>
                  <a:schemeClr val="tx1"/>
                </a:solidFill>
                <a:latin typeface="+mj-lt"/>
                <a:cs typeface="Segoe UI Semibold" panose="020B0702040204020203" pitchFamily="34" charset="0"/>
              </a:rPr>
              <a:t>Note that you must have already completed the prerequisite labs in the Welcome section</a:t>
            </a:r>
          </a:p>
        </p:txBody>
      </p:sp>
    </p:spTree>
    <p:extLst>
      <p:ext uri="{BB962C8B-B14F-4D97-AF65-F5344CB8AC3E}">
        <p14:creationId xmlns:p14="http://schemas.microsoft.com/office/powerpoint/2010/main" val="180173539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7: Module review and takeaways</a:t>
            </a:r>
          </a:p>
        </p:txBody>
      </p:sp>
      <p:pic>
        <p:nvPicPr>
          <p:cNvPr id="6" name="Picture 5" descr="Icon of a document with a checkmark">
            <a:extLst>
              <a:ext uri="{FF2B5EF4-FFF2-40B4-BE49-F238E27FC236}">
                <a16:creationId xmlns:a16="http://schemas.microsoft.com/office/drawing/2014/main" id="{79DA49A5-9A72-4157-A6DC-36BEBB411653}"/>
              </a:ext>
            </a:extLst>
          </p:cNvPr>
          <p:cNvPicPr>
            <a:picLocks noChangeAspect="1"/>
          </p:cNvPicPr>
          <p:nvPr/>
        </p:nvPicPr>
        <p:blipFill>
          <a:blip r:embed="rId2"/>
          <a:stretch>
            <a:fillRect/>
          </a:stretch>
        </p:blipFill>
        <p:spPr>
          <a:xfrm>
            <a:off x="10557290" y="2980403"/>
            <a:ext cx="710785" cy="1033718"/>
          </a:xfrm>
          <a:prstGeom prst="rect">
            <a:avLst/>
          </a:prstGeom>
        </p:spPr>
      </p:pic>
    </p:spTree>
    <p:extLst>
      <p:ext uri="{BB962C8B-B14F-4D97-AF65-F5344CB8AC3E}">
        <p14:creationId xmlns:p14="http://schemas.microsoft.com/office/powerpoint/2010/main" val="211066473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59BF1-DFBD-478C-ACA3-333D99FCFEDF}"/>
              </a:ext>
            </a:extLst>
          </p:cNvPr>
          <p:cNvSpPr>
            <a:spLocks noGrp="1"/>
          </p:cNvSpPr>
          <p:nvPr>
            <p:ph type="title"/>
          </p:nvPr>
        </p:nvSpPr>
        <p:spPr>
          <a:xfrm>
            <a:off x="465138" y="632779"/>
            <a:ext cx="11533187" cy="411162"/>
          </a:xfrm>
        </p:spPr>
        <p:txBody>
          <a:bodyPr/>
          <a:lstStyle/>
          <a:p>
            <a:r>
              <a:rPr lang="en-US" b="1"/>
              <a:t>What did you learn?</a:t>
            </a:r>
            <a:endParaRPr lang="en-US"/>
          </a:p>
        </p:txBody>
      </p:sp>
      <p:pic>
        <p:nvPicPr>
          <p:cNvPr id="73" name="Picture 72">
            <a:extLst>
              <a:ext uri="{FF2B5EF4-FFF2-40B4-BE49-F238E27FC236}">
                <a16:creationId xmlns:a16="http://schemas.microsoft.com/office/drawing/2014/main" id="{A2FE9072-C86D-48D7-A84C-B36ED42348AD}"/>
              </a:ext>
            </a:extLst>
          </p:cNvPr>
          <p:cNvPicPr>
            <a:picLocks noChangeAspect="1"/>
          </p:cNvPicPr>
          <p:nvPr/>
        </p:nvPicPr>
        <p:blipFill>
          <a:blip r:embed="rId3"/>
          <a:stretch>
            <a:fillRect/>
          </a:stretch>
        </p:blipFill>
        <p:spPr>
          <a:xfrm>
            <a:off x="465138" y="1139089"/>
            <a:ext cx="622882" cy="622882"/>
          </a:xfrm>
          <a:prstGeom prst="rect">
            <a:avLst/>
          </a:prstGeom>
        </p:spPr>
      </p:pic>
      <p:sp>
        <p:nvSpPr>
          <p:cNvPr id="74" name="TextBox 73">
            <a:extLst>
              <a:ext uri="{FF2B5EF4-FFF2-40B4-BE49-F238E27FC236}">
                <a16:creationId xmlns:a16="http://schemas.microsoft.com/office/drawing/2014/main" id="{4E760789-7970-4A87-9374-2262B3CC99E1}"/>
              </a:ext>
            </a:extLst>
          </p:cNvPr>
          <p:cNvSpPr txBox="1"/>
          <p:nvPr/>
        </p:nvSpPr>
        <p:spPr>
          <a:xfrm>
            <a:off x="1252537" y="1142754"/>
            <a:ext cx="10373406" cy="615553"/>
          </a:xfrm>
          <a:prstGeom prst="rect">
            <a:avLst/>
          </a:prstGeom>
          <a:noFill/>
        </p:spPr>
        <p:txBody>
          <a:bodyPr wrap="square" lIns="0" tIns="0" rIns="0" bIns="0" rtlCol="0" anchor="ctr">
            <a:spAutoFit/>
          </a:bodyPr>
          <a:lstStyle/>
          <a:p>
            <a:pPr>
              <a:spcAft>
                <a:spcPts val="600"/>
              </a:spcAft>
            </a:pPr>
            <a:r>
              <a:rPr lang="en-US" sz="2000"/>
              <a:t>Inspect open source software packages for security and license compliance to align with corporate standards</a:t>
            </a:r>
          </a:p>
        </p:txBody>
      </p:sp>
      <p:pic>
        <p:nvPicPr>
          <p:cNvPr id="75" name="Picture 74">
            <a:extLst>
              <a:ext uri="{FF2B5EF4-FFF2-40B4-BE49-F238E27FC236}">
                <a16:creationId xmlns:a16="http://schemas.microsoft.com/office/drawing/2014/main" id="{E85AC611-9476-425E-A01E-F88133EAF5B3}"/>
              </a:ext>
            </a:extLst>
          </p:cNvPr>
          <p:cNvPicPr>
            <a:picLocks noChangeAspect="1"/>
          </p:cNvPicPr>
          <p:nvPr/>
        </p:nvPicPr>
        <p:blipFill>
          <a:blip r:embed="rId4"/>
          <a:stretch>
            <a:fillRect/>
          </a:stretch>
        </p:blipFill>
        <p:spPr>
          <a:xfrm>
            <a:off x="465138" y="1953303"/>
            <a:ext cx="622882" cy="622882"/>
          </a:xfrm>
          <a:prstGeom prst="rect">
            <a:avLst/>
          </a:prstGeom>
        </p:spPr>
      </p:pic>
      <p:sp>
        <p:nvSpPr>
          <p:cNvPr id="76" name="TextBox 75">
            <a:extLst>
              <a:ext uri="{FF2B5EF4-FFF2-40B4-BE49-F238E27FC236}">
                <a16:creationId xmlns:a16="http://schemas.microsoft.com/office/drawing/2014/main" id="{0AE51020-D473-475B-84BC-5F5A2266AAF5}"/>
              </a:ext>
            </a:extLst>
          </p:cNvPr>
          <p:cNvSpPr txBox="1"/>
          <p:nvPr/>
        </p:nvSpPr>
        <p:spPr>
          <a:xfrm>
            <a:off x="1252537" y="2110856"/>
            <a:ext cx="10574338" cy="307777"/>
          </a:xfrm>
          <a:prstGeom prst="rect">
            <a:avLst/>
          </a:prstGeom>
          <a:noFill/>
        </p:spPr>
        <p:txBody>
          <a:bodyPr wrap="square" lIns="0" tIns="0" rIns="0" bIns="0" rtlCol="0" anchor="ctr">
            <a:spAutoFit/>
          </a:bodyPr>
          <a:lstStyle/>
          <a:p>
            <a:pPr>
              <a:spcAft>
                <a:spcPts val="600"/>
              </a:spcAft>
            </a:pPr>
            <a:r>
              <a:rPr lang="en-US" sz="2000"/>
              <a:t>Configure build pipeline to access package security and license rating</a:t>
            </a:r>
          </a:p>
        </p:txBody>
      </p:sp>
      <p:pic>
        <p:nvPicPr>
          <p:cNvPr id="77" name="Picture 76">
            <a:extLst>
              <a:ext uri="{FF2B5EF4-FFF2-40B4-BE49-F238E27FC236}">
                <a16:creationId xmlns:a16="http://schemas.microsoft.com/office/drawing/2014/main" id="{FF08A87E-CCCC-489C-A6F5-78191DE3C882}"/>
              </a:ext>
            </a:extLst>
          </p:cNvPr>
          <p:cNvPicPr>
            <a:picLocks noChangeAspect="1"/>
          </p:cNvPicPr>
          <p:nvPr/>
        </p:nvPicPr>
        <p:blipFill>
          <a:blip r:embed="rId5"/>
          <a:stretch>
            <a:fillRect/>
          </a:stretch>
        </p:blipFill>
        <p:spPr>
          <a:xfrm>
            <a:off x="465138" y="2767517"/>
            <a:ext cx="622882" cy="621285"/>
          </a:xfrm>
          <a:prstGeom prst="rect">
            <a:avLst/>
          </a:prstGeom>
        </p:spPr>
      </p:pic>
      <p:sp>
        <p:nvSpPr>
          <p:cNvPr id="78" name="TextBox 77">
            <a:extLst>
              <a:ext uri="{FF2B5EF4-FFF2-40B4-BE49-F238E27FC236}">
                <a16:creationId xmlns:a16="http://schemas.microsoft.com/office/drawing/2014/main" id="{6073FCB9-C537-4312-B7EE-4430FA72E19C}"/>
              </a:ext>
            </a:extLst>
          </p:cNvPr>
          <p:cNvSpPr txBox="1"/>
          <p:nvPr/>
        </p:nvSpPr>
        <p:spPr>
          <a:xfrm>
            <a:off x="1252537" y="2924271"/>
            <a:ext cx="10574338" cy="307777"/>
          </a:xfrm>
          <a:prstGeom prst="rect">
            <a:avLst/>
          </a:prstGeom>
          <a:noFill/>
        </p:spPr>
        <p:txBody>
          <a:bodyPr wrap="square" lIns="0" tIns="0" rIns="0" bIns="0" rtlCol="0" anchor="ctr">
            <a:spAutoFit/>
          </a:bodyPr>
          <a:lstStyle/>
          <a:p>
            <a:pPr>
              <a:spcAft>
                <a:spcPts val="600"/>
              </a:spcAft>
            </a:pPr>
            <a:r>
              <a:rPr lang="en-US" sz="2000"/>
              <a:t>Configure secure access to package feeds</a:t>
            </a:r>
          </a:p>
        </p:txBody>
      </p:sp>
      <p:pic>
        <p:nvPicPr>
          <p:cNvPr id="79" name="Picture 78">
            <a:extLst>
              <a:ext uri="{FF2B5EF4-FFF2-40B4-BE49-F238E27FC236}">
                <a16:creationId xmlns:a16="http://schemas.microsoft.com/office/drawing/2014/main" id="{982AC51F-663E-4265-8D14-3DE91DA7E062}"/>
              </a:ext>
            </a:extLst>
          </p:cNvPr>
          <p:cNvPicPr>
            <a:picLocks noChangeAspect="1"/>
          </p:cNvPicPr>
          <p:nvPr/>
        </p:nvPicPr>
        <p:blipFill>
          <a:blip r:embed="rId6"/>
          <a:stretch>
            <a:fillRect/>
          </a:stretch>
        </p:blipFill>
        <p:spPr>
          <a:xfrm>
            <a:off x="465138" y="3580134"/>
            <a:ext cx="622882" cy="621285"/>
          </a:xfrm>
          <a:prstGeom prst="rect">
            <a:avLst/>
          </a:prstGeom>
        </p:spPr>
      </p:pic>
      <p:sp>
        <p:nvSpPr>
          <p:cNvPr id="80" name="TextBox 79">
            <a:extLst>
              <a:ext uri="{FF2B5EF4-FFF2-40B4-BE49-F238E27FC236}">
                <a16:creationId xmlns:a16="http://schemas.microsoft.com/office/drawing/2014/main" id="{0F57DD84-08F3-4E42-AB76-3813CF5105A4}"/>
              </a:ext>
            </a:extLst>
          </p:cNvPr>
          <p:cNvSpPr txBox="1"/>
          <p:nvPr/>
        </p:nvSpPr>
        <p:spPr>
          <a:xfrm>
            <a:off x="1252537" y="3736888"/>
            <a:ext cx="10574338" cy="307777"/>
          </a:xfrm>
          <a:prstGeom prst="rect">
            <a:avLst/>
          </a:prstGeom>
          <a:noFill/>
        </p:spPr>
        <p:txBody>
          <a:bodyPr wrap="square" lIns="0" tIns="0" rIns="0" bIns="0" rtlCol="0" anchor="ctr">
            <a:spAutoFit/>
          </a:bodyPr>
          <a:lstStyle/>
          <a:p>
            <a:pPr>
              <a:spcAft>
                <a:spcPts val="600"/>
              </a:spcAft>
            </a:pPr>
            <a:r>
              <a:rPr lang="en-US" sz="2000"/>
              <a:t>Inspect codebase to identify code dependencies that can be converted to packages</a:t>
            </a:r>
          </a:p>
        </p:txBody>
      </p:sp>
      <p:pic>
        <p:nvPicPr>
          <p:cNvPr id="81" name="Picture 80">
            <a:extLst>
              <a:ext uri="{FF2B5EF4-FFF2-40B4-BE49-F238E27FC236}">
                <a16:creationId xmlns:a16="http://schemas.microsoft.com/office/drawing/2014/main" id="{42D051CD-18B6-4416-82A6-58BB9B327C49}"/>
              </a:ext>
            </a:extLst>
          </p:cNvPr>
          <p:cNvPicPr>
            <a:picLocks noChangeAspect="1"/>
          </p:cNvPicPr>
          <p:nvPr/>
        </p:nvPicPr>
        <p:blipFill>
          <a:blip r:embed="rId7"/>
          <a:stretch>
            <a:fillRect/>
          </a:stretch>
        </p:blipFill>
        <p:spPr>
          <a:xfrm>
            <a:off x="465138" y="4392751"/>
            <a:ext cx="622882" cy="622882"/>
          </a:xfrm>
          <a:prstGeom prst="rect">
            <a:avLst/>
          </a:prstGeom>
        </p:spPr>
      </p:pic>
      <p:sp>
        <p:nvSpPr>
          <p:cNvPr id="82" name="TextBox 81">
            <a:extLst>
              <a:ext uri="{FF2B5EF4-FFF2-40B4-BE49-F238E27FC236}">
                <a16:creationId xmlns:a16="http://schemas.microsoft.com/office/drawing/2014/main" id="{F7E42044-D4BE-4B4D-AB2A-48C10130BA7D}"/>
              </a:ext>
            </a:extLst>
          </p:cNvPr>
          <p:cNvSpPr txBox="1"/>
          <p:nvPr/>
        </p:nvSpPr>
        <p:spPr>
          <a:xfrm>
            <a:off x="1252537" y="4550304"/>
            <a:ext cx="10574338" cy="307777"/>
          </a:xfrm>
          <a:prstGeom prst="rect">
            <a:avLst/>
          </a:prstGeom>
          <a:noFill/>
        </p:spPr>
        <p:txBody>
          <a:bodyPr wrap="square" lIns="0" tIns="0" rIns="0" bIns="0" rtlCol="0" anchor="ctr">
            <a:spAutoFit/>
          </a:bodyPr>
          <a:lstStyle/>
          <a:p>
            <a:pPr>
              <a:spcAft>
                <a:spcPts val="600"/>
              </a:spcAft>
            </a:pPr>
            <a:r>
              <a:rPr lang="en-US" sz="2000"/>
              <a:t>Identify and recommend standardized package types and versions across the solution</a:t>
            </a:r>
          </a:p>
        </p:txBody>
      </p:sp>
      <p:pic>
        <p:nvPicPr>
          <p:cNvPr id="83" name="Picture 82">
            <a:extLst>
              <a:ext uri="{FF2B5EF4-FFF2-40B4-BE49-F238E27FC236}">
                <a16:creationId xmlns:a16="http://schemas.microsoft.com/office/drawing/2014/main" id="{A3D54FCC-4DF7-4EB9-AE5F-85D41B9D4865}"/>
              </a:ext>
            </a:extLst>
          </p:cNvPr>
          <p:cNvPicPr>
            <a:picLocks noChangeAspect="1"/>
          </p:cNvPicPr>
          <p:nvPr/>
        </p:nvPicPr>
        <p:blipFill>
          <a:blip r:embed="rId8"/>
          <a:stretch>
            <a:fillRect/>
          </a:stretch>
        </p:blipFill>
        <p:spPr>
          <a:xfrm>
            <a:off x="465138" y="5206965"/>
            <a:ext cx="622882" cy="621285"/>
          </a:xfrm>
          <a:prstGeom prst="rect">
            <a:avLst/>
          </a:prstGeom>
        </p:spPr>
      </p:pic>
      <p:sp>
        <p:nvSpPr>
          <p:cNvPr id="84" name="TextBox 83">
            <a:extLst>
              <a:ext uri="{FF2B5EF4-FFF2-40B4-BE49-F238E27FC236}">
                <a16:creationId xmlns:a16="http://schemas.microsoft.com/office/drawing/2014/main" id="{73300FEC-ED42-4B07-A579-2EC939F4E98B}"/>
              </a:ext>
            </a:extLst>
          </p:cNvPr>
          <p:cNvSpPr txBox="1"/>
          <p:nvPr/>
        </p:nvSpPr>
        <p:spPr>
          <a:xfrm>
            <a:off x="1252537" y="5363719"/>
            <a:ext cx="10574338" cy="307777"/>
          </a:xfrm>
          <a:prstGeom prst="rect">
            <a:avLst/>
          </a:prstGeom>
          <a:noFill/>
        </p:spPr>
        <p:txBody>
          <a:bodyPr wrap="square" lIns="0" tIns="0" rIns="0" bIns="0" rtlCol="0" anchor="ctr">
            <a:spAutoFit/>
          </a:bodyPr>
          <a:lstStyle/>
          <a:p>
            <a:pPr>
              <a:spcAft>
                <a:spcPts val="600"/>
              </a:spcAft>
            </a:pPr>
            <a:r>
              <a:rPr lang="en-US" sz="2000"/>
              <a:t>Refactor existing build pipelines to implement version strategy that publishes packages</a:t>
            </a:r>
          </a:p>
        </p:txBody>
      </p:sp>
      <p:pic>
        <p:nvPicPr>
          <p:cNvPr id="85" name="Picture 84">
            <a:extLst>
              <a:ext uri="{FF2B5EF4-FFF2-40B4-BE49-F238E27FC236}">
                <a16:creationId xmlns:a16="http://schemas.microsoft.com/office/drawing/2014/main" id="{CA213B12-FC55-47F5-A0DF-3DEB36B7EBAA}"/>
              </a:ext>
            </a:extLst>
          </p:cNvPr>
          <p:cNvPicPr>
            <a:picLocks noChangeAspect="1"/>
          </p:cNvPicPr>
          <p:nvPr/>
        </p:nvPicPr>
        <p:blipFill>
          <a:blip r:embed="rId9"/>
          <a:stretch>
            <a:fillRect/>
          </a:stretch>
        </p:blipFill>
        <p:spPr>
          <a:xfrm>
            <a:off x="465138" y="6019586"/>
            <a:ext cx="622882" cy="622882"/>
          </a:xfrm>
          <a:prstGeom prst="rect">
            <a:avLst/>
          </a:prstGeom>
        </p:spPr>
      </p:pic>
      <p:sp>
        <p:nvSpPr>
          <p:cNvPr id="87" name="TextBox 86">
            <a:extLst>
              <a:ext uri="{FF2B5EF4-FFF2-40B4-BE49-F238E27FC236}">
                <a16:creationId xmlns:a16="http://schemas.microsoft.com/office/drawing/2014/main" id="{D5740B6C-6D17-4E88-83D9-7450D12D993D}"/>
              </a:ext>
            </a:extLst>
          </p:cNvPr>
          <p:cNvSpPr txBox="1"/>
          <p:nvPr/>
        </p:nvSpPr>
        <p:spPr>
          <a:xfrm>
            <a:off x="1252537" y="6177139"/>
            <a:ext cx="10574338" cy="307777"/>
          </a:xfrm>
          <a:prstGeom prst="rect">
            <a:avLst/>
          </a:prstGeom>
          <a:noFill/>
        </p:spPr>
        <p:txBody>
          <a:bodyPr wrap="square" lIns="0" tIns="0" rIns="0" bIns="0" rtlCol="0" anchor="ctr">
            <a:spAutoFit/>
          </a:bodyPr>
          <a:lstStyle/>
          <a:p>
            <a:pPr>
              <a:spcAft>
                <a:spcPts val="600"/>
              </a:spcAft>
            </a:pPr>
            <a:r>
              <a:rPr lang="en-US" sz="2000"/>
              <a:t>Manage security and compliance</a:t>
            </a:r>
          </a:p>
        </p:txBody>
      </p:sp>
      <p:pic>
        <p:nvPicPr>
          <p:cNvPr id="5" name="Picture 4">
            <a:extLst>
              <a:ext uri="{FF2B5EF4-FFF2-40B4-BE49-F238E27FC236}">
                <a16:creationId xmlns:a16="http://schemas.microsoft.com/office/drawing/2014/main" id="{3ED7AA6F-31E9-4254-83CF-BF3540ABFC5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271588" y="1857637"/>
            <a:ext cx="10750296" cy="4087368"/>
          </a:xfrm>
          <a:prstGeom prst="rect">
            <a:avLst/>
          </a:prstGeom>
        </p:spPr>
      </p:pic>
    </p:spTree>
    <p:extLst>
      <p:ext uri="{BB962C8B-B14F-4D97-AF65-F5344CB8AC3E}">
        <p14:creationId xmlns:p14="http://schemas.microsoft.com/office/powerpoint/2010/main" val="366588404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59BF1-DFBD-478C-ACA3-333D99FCFEDF}"/>
              </a:ext>
            </a:extLst>
          </p:cNvPr>
          <p:cNvSpPr>
            <a:spLocks noGrp="1"/>
          </p:cNvSpPr>
          <p:nvPr>
            <p:ph type="title"/>
          </p:nvPr>
        </p:nvSpPr>
        <p:spPr>
          <a:xfrm>
            <a:off x="465138" y="632779"/>
            <a:ext cx="11533187" cy="411162"/>
          </a:xfrm>
        </p:spPr>
        <p:txBody>
          <a:bodyPr/>
          <a:lstStyle/>
          <a:p>
            <a:r>
              <a:rPr lang="en-US"/>
              <a:t>Module review questions:</a:t>
            </a:r>
          </a:p>
        </p:txBody>
      </p:sp>
      <p:pic>
        <p:nvPicPr>
          <p:cNvPr id="3" name="Picture 2">
            <a:extLst>
              <a:ext uri="{FF2B5EF4-FFF2-40B4-BE49-F238E27FC236}">
                <a16:creationId xmlns:a16="http://schemas.microsoft.com/office/drawing/2014/main" id="{B988BCFB-0BC9-4521-9B9E-4897973BE41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1198680"/>
            <a:ext cx="915924" cy="915924"/>
          </a:xfrm>
          <a:prstGeom prst="rect">
            <a:avLst/>
          </a:prstGeom>
        </p:spPr>
      </p:pic>
      <p:sp>
        <p:nvSpPr>
          <p:cNvPr id="4" name="Oval 3">
            <a:extLst>
              <a:ext uri="{FF2B5EF4-FFF2-40B4-BE49-F238E27FC236}">
                <a16:creationId xmlns:a16="http://schemas.microsoft.com/office/drawing/2014/main" id="{5D010595-CC0F-4F28-A32C-2291A9AFD36C}"/>
              </a:ext>
            </a:extLst>
          </p:cNvPr>
          <p:cNvSpPr/>
          <p:nvPr/>
        </p:nvSpPr>
        <p:spPr bwMode="auto">
          <a:xfrm rot="10800000" flipV="1">
            <a:off x="499585" y="1267599"/>
            <a:ext cx="778086"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a:solidFill>
                  <a:schemeClr val="tx1"/>
                </a:solidFill>
                <a:latin typeface="+mj-lt"/>
                <a:ea typeface="Segoe UI" pitchFamily="34" charset="0"/>
                <a:cs typeface="Segoe UI" pitchFamily="34" charset="0"/>
              </a:rPr>
              <a:t>1</a:t>
            </a:r>
          </a:p>
        </p:txBody>
      </p:sp>
      <p:sp>
        <p:nvSpPr>
          <p:cNvPr id="66" name="TextBox 65">
            <a:extLst>
              <a:ext uri="{FF2B5EF4-FFF2-40B4-BE49-F238E27FC236}">
                <a16:creationId xmlns:a16="http://schemas.microsoft.com/office/drawing/2014/main" id="{3C5FA106-5E25-4554-AB17-915634ED251D}"/>
              </a:ext>
            </a:extLst>
          </p:cNvPr>
          <p:cNvSpPr txBox="1"/>
          <p:nvPr/>
        </p:nvSpPr>
        <p:spPr>
          <a:xfrm>
            <a:off x="1557338" y="1471976"/>
            <a:ext cx="10452100" cy="369332"/>
          </a:xfrm>
          <a:prstGeom prst="rect">
            <a:avLst/>
          </a:prstGeom>
          <a:noFill/>
        </p:spPr>
        <p:txBody>
          <a:bodyPr wrap="square" lIns="0" tIns="0" rIns="0" bIns="0" rtlCol="0" anchor="ctr">
            <a:spAutoFit/>
          </a:bodyPr>
          <a:lstStyle/>
          <a:p>
            <a:pPr>
              <a:spcAft>
                <a:spcPts val="600"/>
              </a:spcAft>
            </a:pPr>
            <a:r>
              <a:rPr lang="en-US" sz="2400"/>
              <a:t>What issues are often associated with the use of open source libraries? </a:t>
            </a:r>
          </a:p>
        </p:txBody>
      </p:sp>
      <p:cxnSp>
        <p:nvCxnSpPr>
          <p:cNvPr id="67" name="Straight Connector 66">
            <a:extLst>
              <a:ext uri="{FF2B5EF4-FFF2-40B4-BE49-F238E27FC236}">
                <a16:creationId xmlns:a16="http://schemas.microsoft.com/office/drawing/2014/main" id="{7A017D1E-285B-486F-A4F5-20F6F7DB78FD}"/>
              </a:ext>
              <a:ext uri="{C183D7F6-B498-43B3-948B-1728B52AA6E4}">
                <adec:decorative xmlns:adec="http://schemas.microsoft.com/office/drawing/2017/decorative" val="1"/>
              </a:ext>
            </a:extLst>
          </p:cNvPr>
          <p:cNvCxnSpPr>
            <a:cxnSpLocks/>
          </p:cNvCxnSpPr>
          <p:nvPr/>
        </p:nvCxnSpPr>
        <p:spPr>
          <a:xfrm>
            <a:off x="1557338" y="2209457"/>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8585FDC-2E61-4EE8-942F-1AB483404B7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2304310"/>
            <a:ext cx="915924" cy="915924"/>
          </a:xfrm>
          <a:prstGeom prst="rect">
            <a:avLst/>
          </a:prstGeom>
        </p:spPr>
      </p:pic>
      <p:sp>
        <p:nvSpPr>
          <p:cNvPr id="6" name="Oval 5">
            <a:extLst>
              <a:ext uri="{FF2B5EF4-FFF2-40B4-BE49-F238E27FC236}">
                <a16:creationId xmlns:a16="http://schemas.microsoft.com/office/drawing/2014/main" id="{3002A13C-E37E-468F-A120-048FE42E8A1D}"/>
              </a:ext>
            </a:extLst>
          </p:cNvPr>
          <p:cNvSpPr/>
          <p:nvPr/>
        </p:nvSpPr>
        <p:spPr bwMode="auto">
          <a:xfrm rot="10800000" flipV="1">
            <a:off x="499585" y="2373229"/>
            <a:ext cx="778086"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a:solidFill>
                  <a:schemeClr val="tx1"/>
                </a:solidFill>
                <a:latin typeface="+mj-lt"/>
                <a:ea typeface="Segoe UI" pitchFamily="34" charset="0"/>
                <a:cs typeface="Segoe UI" pitchFamily="34" charset="0"/>
              </a:rPr>
              <a:t>2</a:t>
            </a:r>
          </a:p>
        </p:txBody>
      </p:sp>
      <p:sp>
        <p:nvSpPr>
          <p:cNvPr id="71" name="TextBox 70">
            <a:extLst>
              <a:ext uri="{FF2B5EF4-FFF2-40B4-BE49-F238E27FC236}">
                <a16:creationId xmlns:a16="http://schemas.microsoft.com/office/drawing/2014/main" id="{D90624EA-5CBB-4AC1-A1C8-9BC7763B40F1}"/>
              </a:ext>
            </a:extLst>
          </p:cNvPr>
          <p:cNvSpPr txBox="1"/>
          <p:nvPr/>
        </p:nvSpPr>
        <p:spPr>
          <a:xfrm>
            <a:off x="1557338" y="2392940"/>
            <a:ext cx="10452100" cy="738664"/>
          </a:xfrm>
          <a:prstGeom prst="rect">
            <a:avLst/>
          </a:prstGeom>
          <a:noFill/>
        </p:spPr>
        <p:txBody>
          <a:bodyPr wrap="square" lIns="0" tIns="0" rIns="0" bIns="0" rtlCol="0" anchor="ctr">
            <a:spAutoFit/>
          </a:bodyPr>
          <a:lstStyle/>
          <a:p>
            <a:pPr>
              <a:spcAft>
                <a:spcPts val="600"/>
              </a:spcAft>
            </a:pPr>
            <a:r>
              <a:rPr lang="en-US" sz="2400"/>
              <a:t>How can an open source library cause licensing issues if it is free to download?</a:t>
            </a:r>
          </a:p>
        </p:txBody>
      </p:sp>
      <p:cxnSp>
        <p:nvCxnSpPr>
          <p:cNvPr id="72" name="Straight Connector 71">
            <a:extLst>
              <a:ext uri="{FF2B5EF4-FFF2-40B4-BE49-F238E27FC236}">
                <a16:creationId xmlns:a16="http://schemas.microsoft.com/office/drawing/2014/main" id="{531D1E68-F3A6-4DB0-B336-E25B3753458C}"/>
              </a:ext>
              <a:ext uri="{C183D7F6-B498-43B3-948B-1728B52AA6E4}">
                <adec:decorative xmlns:adec="http://schemas.microsoft.com/office/drawing/2017/decorative" val="1"/>
              </a:ext>
            </a:extLst>
          </p:cNvPr>
          <p:cNvCxnSpPr>
            <a:cxnSpLocks/>
          </p:cNvCxnSpPr>
          <p:nvPr/>
        </p:nvCxnSpPr>
        <p:spPr>
          <a:xfrm>
            <a:off x="1557338" y="3315087"/>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008C569-F053-4A6D-85BA-24A907CE4A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3409940"/>
            <a:ext cx="915924" cy="915924"/>
          </a:xfrm>
          <a:prstGeom prst="rect">
            <a:avLst/>
          </a:prstGeom>
        </p:spPr>
      </p:pic>
      <p:sp>
        <p:nvSpPr>
          <p:cNvPr id="8" name="Oval 7">
            <a:extLst>
              <a:ext uri="{FF2B5EF4-FFF2-40B4-BE49-F238E27FC236}">
                <a16:creationId xmlns:a16="http://schemas.microsoft.com/office/drawing/2014/main" id="{5DC326C0-FA8B-4A35-B0AF-748BDD70EE0A}"/>
              </a:ext>
            </a:extLst>
          </p:cNvPr>
          <p:cNvSpPr/>
          <p:nvPr/>
        </p:nvSpPr>
        <p:spPr bwMode="auto">
          <a:xfrm rot="10800000" flipV="1">
            <a:off x="499585" y="3478859"/>
            <a:ext cx="778086"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a:solidFill>
                  <a:schemeClr val="tx1"/>
                </a:solidFill>
                <a:latin typeface="+mj-lt"/>
                <a:ea typeface="Segoe UI" pitchFamily="34" charset="0"/>
                <a:cs typeface="Segoe UI" pitchFamily="34" charset="0"/>
              </a:rPr>
              <a:t>3</a:t>
            </a:r>
          </a:p>
        </p:txBody>
      </p:sp>
      <p:sp>
        <p:nvSpPr>
          <p:cNvPr id="76" name="TextBox 75">
            <a:extLst>
              <a:ext uri="{FF2B5EF4-FFF2-40B4-BE49-F238E27FC236}">
                <a16:creationId xmlns:a16="http://schemas.microsoft.com/office/drawing/2014/main" id="{0BC1C9E9-C916-4E5C-A06C-C3EFF19C97B9}"/>
              </a:ext>
            </a:extLst>
          </p:cNvPr>
          <p:cNvSpPr txBox="1"/>
          <p:nvPr/>
        </p:nvSpPr>
        <p:spPr>
          <a:xfrm>
            <a:off x="1557338" y="3498570"/>
            <a:ext cx="10452100" cy="738664"/>
          </a:xfrm>
          <a:prstGeom prst="rect">
            <a:avLst/>
          </a:prstGeom>
          <a:noFill/>
        </p:spPr>
        <p:txBody>
          <a:bodyPr wrap="square" lIns="0" tIns="0" rIns="0" bIns="0" rtlCol="0" anchor="ctr">
            <a:spAutoFit/>
          </a:bodyPr>
          <a:lstStyle/>
          <a:p>
            <a:pPr>
              <a:spcAft>
                <a:spcPts val="600"/>
              </a:spcAft>
            </a:pPr>
            <a:r>
              <a:rPr lang="en-US" sz="2400"/>
              <a:t>What is the minimum feed permission that will allow you to list available packages and  to install them?</a:t>
            </a:r>
          </a:p>
        </p:txBody>
      </p:sp>
      <p:cxnSp>
        <p:nvCxnSpPr>
          <p:cNvPr id="77" name="Straight Connector 76">
            <a:extLst>
              <a:ext uri="{FF2B5EF4-FFF2-40B4-BE49-F238E27FC236}">
                <a16:creationId xmlns:a16="http://schemas.microsoft.com/office/drawing/2014/main" id="{DA162D0B-EDCD-41AC-8733-0A944FE45D4C}"/>
              </a:ext>
              <a:ext uri="{C183D7F6-B498-43B3-948B-1728B52AA6E4}">
                <adec:decorative xmlns:adec="http://schemas.microsoft.com/office/drawing/2017/decorative" val="1"/>
              </a:ext>
            </a:extLst>
          </p:cNvPr>
          <p:cNvCxnSpPr>
            <a:cxnSpLocks/>
          </p:cNvCxnSpPr>
          <p:nvPr/>
        </p:nvCxnSpPr>
        <p:spPr>
          <a:xfrm>
            <a:off x="1557338" y="4420717"/>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29F3BC7-CA4E-4C08-A027-6F85DF88C3E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4515570"/>
            <a:ext cx="915924" cy="915924"/>
          </a:xfrm>
          <a:prstGeom prst="rect">
            <a:avLst/>
          </a:prstGeom>
        </p:spPr>
      </p:pic>
      <p:sp>
        <p:nvSpPr>
          <p:cNvPr id="10" name="Oval 9">
            <a:extLst>
              <a:ext uri="{FF2B5EF4-FFF2-40B4-BE49-F238E27FC236}">
                <a16:creationId xmlns:a16="http://schemas.microsoft.com/office/drawing/2014/main" id="{389457DD-6567-4613-8249-11B85AA087A3}"/>
              </a:ext>
            </a:extLst>
          </p:cNvPr>
          <p:cNvSpPr/>
          <p:nvPr/>
        </p:nvSpPr>
        <p:spPr bwMode="auto">
          <a:xfrm rot="10800000" flipV="1">
            <a:off x="499585" y="4584489"/>
            <a:ext cx="778086"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a:solidFill>
                  <a:schemeClr val="tx1"/>
                </a:solidFill>
                <a:latin typeface="+mj-lt"/>
                <a:ea typeface="Segoe UI" pitchFamily="34" charset="0"/>
                <a:cs typeface="Segoe UI" pitchFamily="34" charset="0"/>
              </a:rPr>
              <a:t>4</a:t>
            </a:r>
          </a:p>
        </p:txBody>
      </p:sp>
      <p:sp>
        <p:nvSpPr>
          <p:cNvPr id="81" name="TextBox 80">
            <a:extLst>
              <a:ext uri="{FF2B5EF4-FFF2-40B4-BE49-F238E27FC236}">
                <a16:creationId xmlns:a16="http://schemas.microsoft.com/office/drawing/2014/main" id="{DCEF8158-9C5D-40C1-99A8-18E0CBDC5216}"/>
              </a:ext>
            </a:extLst>
          </p:cNvPr>
          <p:cNvSpPr txBox="1"/>
          <p:nvPr/>
        </p:nvSpPr>
        <p:spPr>
          <a:xfrm>
            <a:off x="1557338" y="4788866"/>
            <a:ext cx="10452100" cy="369332"/>
          </a:xfrm>
          <a:prstGeom prst="rect">
            <a:avLst/>
          </a:prstGeom>
          <a:noFill/>
        </p:spPr>
        <p:txBody>
          <a:bodyPr wrap="square" lIns="0" tIns="0" rIns="0" bIns="0" rtlCol="0" anchor="ctr">
            <a:spAutoFit/>
          </a:bodyPr>
          <a:lstStyle/>
          <a:p>
            <a:pPr>
              <a:spcAft>
                <a:spcPts val="600"/>
              </a:spcAft>
            </a:pPr>
            <a:r>
              <a:rPr lang="en-US" sz="2400"/>
              <a:t>What is open source software?</a:t>
            </a:r>
          </a:p>
        </p:txBody>
      </p:sp>
      <p:cxnSp>
        <p:nvCxnSpPr>
          <p:cNvPr id="82" name="Straight Connector 81">
            <a:extLst>
              <a:ext uri="{FF2B5EF4-FFF2-40B4-BE49-F238E27FC236}">
                <a16:creationId xmlns:a16="http://schemas.microsoft.com/office/drawing/2014/main" id="{EFCB1A3B-823F-44E9-8A2F-449016C27A70}"/>
              </a:ext>
              <a:ext uri="{C183D7F6-B498-43B3-948B-1728B52AA6E4}">
                <adec:decorative xmlns:adec="http://schemas.microsoft.com/office/drawing/2017/decorative" val="1"/>
              </a:ext>
            </a:extLst>
          </p:cNvPr>
          <p:cNvCxnSpPr>
            <a:cxnSpLocks/>
          </p:cNvCxnSpPr>
          <p:nvPr/>
        </p:nvCxnSpPr>
        <p:spPr>
          <a:xfrm>
            <a:off x="1557338" y="5526347"/>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77BE84AE-FE59-447F-B4DC-D1118F23DF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5621202"/>
            <a:ext cx="915924" cy="915924"/>
          </a:xfrm>
          <a:prstGeom prst="rect">
            <a:avLst/>
          </a:prstGeom>
        </p:spPr>
      </p:pic>
      <p:sp>
        <p:nvSpPr>
          <p:cNvPr id="34" name="Oval 33">
            <a:extLst>
              <a:ext uri="{FF2B5EF4-FFF2-40B4-BE49-F238E27FC236}">
                <a16:creationId xmlns:a16="http://schemas.microsoft.com/office/drawing/2014/main" id="{265CC495-1E8F-4337-AE71-0775ED616727}"/>
              </a:ext>
            </a:extLst>
          </p:cNvPr>
          <p:cNvSpPr/>
          <p:nvPr/>
        </p:nvSpPr>
        <p:spPr bwMode="auto">
          <a:xfrm rot="10800000" flipV="1">
            <a:off x="499585" y="5690121"/>
            <a:ext cx="778086"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a:solidFill>
                  <a:schemeClr val="tx1"/>
                </a:solidFill>
                <a:latin typeface="+mj-lt"/>
                <a:ea typeface="Segoe UI" pitchFamily="34" charset="0"/>
                <a:cs typeface="Segoe UI" pitchFamily="34" charset="0"/>
              </a:rPr>
              <a:t>5</a:t>
            </a:r>
          </a:p>
        </p:txBody>
      </p:sp>
      <p:sp>
        <p:nvSpPr>
          <p:cNvPr id="86" name="TextBox 85">
            <a:extLst>
              <a:ext uri="{FF2B5EF4-FFF2-40B4-BE49-F238E27FC236}">
                <a16:creationId xmlns:a16="http://schemas.microsoft.com/office/drawing/2014/main" id="{6CB30D02-72B3-4DE7-BC4E-ED6BD3923780}"/>
              </a:ext>
            </a:extLst>
          </p:cNvPr>
          <p:cNvSpPr txBox="1"/>
          <p:nvPr/>
        </p:nvSpPr>
        <p:spPr>
          <a:xfrm>
            <a:off x="1557338" y="5894498"/>
            <a:ext cx="10452100" cy="369332"/>
          </a:xfrm>
          <a:prstGeom prst="rect">
            <a:avLst/>
          </a:prstGeom>
          <a:noFill/>
        </p:spPr>
        <p:txBody>
          <a:bodyPr wrap="square" lIns="0" tIns="0" rIns="0" bIns="0" rtlCol="0" anchor="ctr">
            <a:spAutoFit/>
          </a:bodyPr>
          <a:lstStyle/>
          <a:p>
            <a:pPr>
              <a:spcAft>
                <a:spcPts val="600"/>
              </a:spcAft>
            </a:pPr>
            <a:r>
              <a:rPr lang="en-US" sz="2400"/>
              <a:t>How can you restrict which files are uploaded in a universal package feed?</a:t>
            </a:r>
          </a:p>
        </p:txBody>
      </p:sp>
    </p:spTree>
    <p:extLst>
      <p:ext uri="{BB962C8B-B14F-4D97-AF65-F5344CB8AC3E}">
        <p14:creationId xmlns:p14="http://schemas.microsoft.com/office/powerpoint/2010/main" val="3163223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1B9C-B4A1-4E8B-BDD0-8D4B9DE9519A}"/>
              </a:ext>
            </a:extLst>
          </p:cNvPr>
          <p:cNvSpPr>
            <a:spLocks noGrp="1"/>
          </p:cNvSpPr>
          <p:nvPr>
            <p:ph type="title"/>
          </p:nvPr>
        </p:nvSpPr>
        <p:spPr/>
        <p:txBody>
          <a:bodyPr/>
          <a:lstStyle/>
          <a:p>
            <a:r>
              <a:rPr lang="en-US"/>
              <a:t>Learning objectives</a:t>
            </a:r>
          </a:p>
        </p:txBody>
      </p:sp>
      <p:sp>
        <p:nvSpPr>
          <p:cNvPr id="4" name="TextBox 3">
            <a:extLst>
              <a:ext uri="{FF2B5EF4-FFF2-40B4-BE49-F238E27FC236}">
                <a16:creationId xmlns:a16="http://schemas.microsoft.com/office/drawing/2014/main" id="{E187DEEA-C89F-4A10-AEF3-2022E07F0393}"/>
              </a:ext>
            </a:extLst>
          </p:cNvPr>
          <p:cNvSpPr txBox="1"/>
          <p:nvPr/>
        </p:nvSpPr>
        <p:spPr>
          <a:xfrm>
            <a:off x="466344" y="1188720"/>
            <a:ext cx="11582400" cy="307777"/>
          </a:xfrm>
          <a:prstGeom prst="rect">
            <a:avLst/>
          </a:prstGeom>
          <a:noFill/>
        </p:spPr>
        <p:txBody>
          <a:bodyPr wrap="square" lIns="0" tIns="0" rIns="0" bIns="0" anchor="ctr">
            <a:spAutoFit/>
          </a:bodyPr>
          <a:lstStyle/>
          <a:p>
            <a:r>
              <a:rPr lang="en-US" sz="2000">
                <a:latin typeface="+mj-lt"/>
              </a:rPr>
              <a:t>After completing this module, students will be able to:</a:t>
            </a:r>
          </a:p>
        </p:txBody>
      </p:sp>
      <p:pic>
        <p:nvPicPr>
          <p:cNvPr id="70" name="Picture 69" descr="Icon of a hollow circle">
            <a:extLst>
              <a:ext uri="{FF2B5EF4-FFF2-40B4-BE49-F238E27FC236}">
                <a16:creationId xmlns:a16="http://schemas.microsoft.com/office/drawing/2014/main" id="{2485CC25-DAA5-418C-B702-A4C6A5369966}"/>
              </a:ext>
            </a:extLst>
          </p:cNvPr>
          <p:cNvPicPr>
            <a:picLocks noChangeAspect="1"/>
          </p:cNvPicPr>
          <p:nvPr/>
        </p:nvPicPr>
        <p:blipFill>
          <a:blip r:embed="rId3"/>
          <a:stretch>
            <a:fillRect/>
          </a:stretch>
        </p:blipFill>
        <p:spPr>
          <a:xfrm>
            <a:off x="432223" y="1608110"/>
            <a:ext cx="630936" cy="632460"/>
          </a:xfrm>
          <a:prstGeom prst="rect">
            <a:avLst/>
          </a:prstGeom>
        </p:spPr>
      </p:pic>
      <p:sp>
        <p:nvSpPr>
          <p:cNvPr id="71" name="Rectangle 70">
            <a:extLst>
              <a:ext uri="{FF2B5EF4-FFF2-40B4-BE49-F238E27FC236}">
                <a16:creationId xmlns:a16="http://schemas.microsoft.com/office/drawing/2014/main" id="{27C301BF-9D46-44C8-A055-18088408385F}"/>
              </a:ext>
            </a:extLst>
          </p:cNvPr>
          <p:cNvSpPr>
            <a:spLocks/>
          </p:cNvSpPr>
          <p:nvPr/>
        </p:nvSpPr>
        <p:spPr>
          <a:xfrm>
            <a:off x="1250950" y="1802287"/>
            <a:ext cx="10707688" cy="244106"/>
          </a:xfrm>
          <a:prstGeom prst="rect">
            <a:avLst/>
          </a:prstGeom>
        </p:spPr>
        <p:txBody>
          <a:bodyPr wrap="square" lIns="0" tIns="0" rIns="0" bIns="0">
            <a:spAutoFit/>
          </a:bodyPr>
          <a:lstStyle/>
          <a:p>
            <a:pPr>
              <a:lnSpc>
                <a:spcPct val="107000"/>
              </a:lnSpc>
            </a:pPr>
            <a:r>
              <a:rPr lang="en-US" sz="1600"/>
              <a:t>Inspect open source software packages for security and license compliance to align with corporate standards</a:t>
            </a:r>
          </a:p>
        </p:txBody>
      </p:sp>
      <p:cxnSp>
        <p:nvCxnSpPr>
          <p:cNvPr id="18" name="Straight Connector 17">
            <a:extLst>
              <a:ext uri="{FF2B5EF4-FFF2-40B4-BE49-F238E27FC236}">
                <a16:creationId xmlns:a16="http://schemas.microsoft.com/office/drawing/2014/main" id="{8C35B81A-491C-42F8-874F-13B44EE9281A}"/>
              </a:ext>
              <a:ext uri="{C183D7F6-B498-43B3-948B-1728B52AA6E4}">
                <adec:decorative xmlns:adec="http://schemas.microsoft.com/office/drawing/2017/decorative" val="1"/>
              </a:ext>
            </a:extLst>
          </p:cNvPr>
          <p:cNvCxnSpPr>
            <a:cxnSpLocks/>
          </p:cNvCxnSpPr>
          <p:nvPr/>
        </p:nvCxnSpPr>
        <p:spPr>
          <a:xfrm>
            <a:off x="1250950" y="2295381"/>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descr="Icon of three circles and aligned to three lines">
            <a:extLst>
              <a:ext uri="{FF2B5EF4-FFF2-40B4-BE49-F238E27FC236}">
                <a16:creationId xmlns:a16="http://schemas.microsoft.com/office/drawing/2014/main" id="{B1B1F4A4-7EC6-4E1D-90FE-36EF57A9E2E4}"/>
              </a:ext>
            </a:extLst>
          </p:cNvPr>
          <p:cNvPicPr>
            <a:picLocks noChangeAspect="1"/>
          </p:cNvPicPr>
          <p:nvPr/>
        </p:nvPicPr>
        <p:blipFill>
          <a:blip r:embed="rId4"/>
          <a:stretch>
            <a:fillRect/>
          </a:stretch>
        </p:blipFill>
        <p:spPr>
          <a:xfrm>
            <a:off x="432223" y="2350192"/>
            <a:ext cx="630936" cy="630936"/>
          </a:xfrm>
          <a:prstGeom prst="rect">
            <a:avLst/>
          </a:prstGeom>
        </p:spPr>
      </p:pic>
      <p:sp>
        <p:nvSpPr>
          <p:cNvPr id="74" name="Rectangle 73">
            <a:extLst>
              <a:ext uri="{FF2B5EF4-FFF2-40B4-BE49-F238E27FC236}">
                <a16:creationId xmlns:a16="http://schemas.microsoft.com/office/drawing/2014/main" id="{89FD8D76-52AA-4B44-B5E7-A07C19C4A83D}"/>
              </a:ext>
            </a:extLst>
          </p:cNvPr>
          <p:cNvSpPr>
            <a:spLocks/>
          </p:cNvSpPr>
          <p:nvPr/>
        </p:nvSpPr>
        <p:spPr>
          <a:xfrm>
            <a:off x="1250949" y="2543227"/>
            <a:ext cx="10707688" cy="244106"/>
          </a:xfrm>
          <a:prstGeom prst="rect">
            <a:avLst/>
          </a:prstGeom>
        </p:spPr>
        <p:txBody>
          <a:bodyPr wrap="none" lIns="0" tIns="0" rIns="0" bIns="0">
            <a:spAutoFit/>
          </a:bodyPr>
          <a:lstStyle/>
          <a:p>
            <a:pPr>
              <a:lnSpc>
                <a:spcPct val="107000"/>
              </a:lnSpc>
            </a:pPr>
            <a:r>
              <a:rPr lang="en-US" sz="1600"/>
              <a:t>Configure build pipeline to access package security and license rating</a:t>
            </a:r>
          </a:p>
        </p:txBody>
      </p:sp>
      <p:cxnSp>
        <p:nvCxnSpPr>
          <p:cNvPr id="20" name="Straight Connector 19">
            <a:extLst>
              <a:ext uri="{FF2B5EF4-FFF2-40B4-BE49-F238E27FC236}">
                <a16:creationId xmlns:a16="http://schemas.microsoft.com/office/drawing/2014/main" id="{6182C732-CBBB-4A5A-833F-EC1047B7813E}"/>
              </a:ext>
              <a:ext uri="{C183D7F6-B498-43B3-948B-1728B52AA6E4}">
                <adec:decorative xmlns:adec="http://schemas.microsoft.com/office/drawing/2017/decorative" val="1"/>
              </a:ext>
            </a:extLst>
          </p:cNvPr>
          <p:cNvCxnSpPr>
            <a:cxnSpLocks/>
          </p:cNvCxnSpPr>
          <p:nvPr/>
        </p:nvCxnSpPr>
        <p:spPr>
          <a:xfrm>
            <a:off x="1250950" y="3035939"/>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6" name="Picture 75" descr="Icon of a gear inside a circle">
            <a:extLst>
              <a:ext uri="{FF2B5EF4-FFF2-40B4-BE49-F238E27FC236}">
                <a16:creationId xmlns:a16="http://schemas.microsoft.com/office/drawing/2014/main" id="{A99E3B1C-72EC-43C0-9BC6-66847EBDFE44}"/>
              </a:ext>
            </a:extLst>
          </p:cNvPr>
          <p:cNvPicPr>
            <a:picLocks noChangeAspect="1"/>
          </p:cNvPicPr>
          <p:nvPr/>
        </p:nvPicPr>
        <p:blipFill>
          <a:blip r:embed="rId5"/>
          <a:stretch>
            <a:fillRect/>
          </a:stretch>
        </p:blipFill>
        <p:spPr>
          <a:xfrm>
            <a:off x="432223" y="3090750"/>
            <a:ext cx="630936" cy="630936"/>
          </a:xfrm>
          <a:prstGeom prst="rect">
            <a:avLst/>
          </a:prstGeom>
        </p:spPr>
      </p:pic>
      <p:sp>
        <p:nvSpPr>
          <p:cNvPr id="77" name="Rectangle 76">
            <a:extLst>
              <a:ext uri="{FF2B5EF4-FFF2-40B4-BE49-F238E27FC236}">
                <a16:creationId xmlns:a16="http://schemas.microsoft.com/office/drawing/2014/main" id="{2B178F0A-D602-4E53-A4F4-C21C3FD78661}"/>
              </a:ext>
            </a:extLst>
          </p:cNvPr>
          <p:cNvSpPr>
            <a:spLocks/>
          </p:cNvSpPr>
          <p:nvPr/>
        </p:nvSpPr>
        <p:spPr>
          <a:xfrm>
            <a:off x="1250949" y="3284167"/>
            <a:ext cx="10707688" cy="244106"/>
          </a:xfrm>
          <a:prstGeom prst="rect">
            <a:avLst/>
          </a:prstGeom>
        </p:spPr>
        <p:txBody>
          <a:bodyPr wrap="none" lIns="0" tIns="0" rIns="0" bIns="0">
            <a:spAutoFit/>
          </a:bodyPr>
          <a:lstStyle/>
          <a:p>
            <a:pPr>
              <a:lnSpc>
                <a:spcPct val="107000"/>
              </a:lnSpc>
            </a:pPr>
            <a:r>
              <a:rPr lang="en-US" sz="1600"/>
              <a:t>Configure secure access to package feeds</a:t>
            </a:r>
          </a:p>
        </p:txBody>
      </p:sp>
      <p:cxnSp>
        <p:nvCxnSpPr>
          <p:cNvPr id="21" name="Straight Connector 20">
            <a:extLst>
              <a:ext uri="{FF2B5EF4-FFF2-40B4-BE49-F238E27FC236}">
                <a16:creationId xmlns:a16="http://schemas.microsoft.com/office/drawing/2014/main" id="{D12F2B9E-82FE-4895-BAD9-87436DBCA0D6}"/>
              </a:ext>
              <a:ext uri="{C183D7F6-B498-43B3-948B-1728B52AA6E4}">
                <adec:decorative xmlns:adec="http://schemas.microsoft.com/office/drawing/2017/decorative" val="1"/>
              </a:ext>
            </a:extLst>
          </p:cNvPr>
          <p:cNvCxnSpPr>
            <a:cxnSpLocks/>
          </p:cNvCxnSpPr>
          <p:nvPr/>
        </p:nvCxnSpPr>
        <p:spPr>
          <a:xfrm>
            <a:off x="1250950" y="3776497"/>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8" name="Picture 77" descr="Icon of a closed and open bracket">
            <a:extLst>
              <a:ext uri="{FF2B5EF4-FFF2-40B4-BE49-F238E27FC236}">
                <a16:creationId xmlns:a16="http://schemas.microsoft.com/office/drawing/2014/main" id="{CC638140-DE3B-4AB1-88AD-29D009FF05DA}"/>
              </a:ext>
            </a:extLst>
          </p:cNvPr>
          <p:cNvPicPr>
            <a:picLocks noChangeAspect="1"/>
          </p:cNvPicPr>
          <p:nvPr/>
        </p:nvPicPr>
        <p:blipFill>
          <a:blip r:embed="rId6"/>
          <a:stretch>
            <a:fillRect/>
          </a:stretch>
        </p:blipFill>
        <p:spPr>
          <a:xfrm>
            <a:off x="432223" y="3831308"/>
            <a:ext cx="630936" cy="632460"/>
          </a:xfrm>
          <a:prstGeom prst="rect">
            <a:avLst/>
          </a:prstGeom>
        </p:spPr>
      </p:pic>
      <p:sp>
        <p:nvSpPr>
          <p:cNvPr id="79" name="Rectangle 78">
            <a:extLst>
              <a:ext uri="{FF2B5EF4-FFF2-40B4-BE49-F238E27FC236}">
                <a16:creationId xmlns:a16="http://schemas.microsoft.com/office/drawing/2014/main" id="{67663F80-641B-4C52-8F62-E533B8367BC5}"/>
              </a:ext>
            </a:extLst>
          </p:cNvPr>
          <p:cNvSpPr>
            <a:spLocks/>
          </p:cNvSpPr>
          <p:nvPr/>
        </p:nvSpPr>
        <p:spPr>
          <a:xfrm>
            <a:off x="1250949" y="4025107"/>
            <a:ext cx="10707688" cy="244106"/>
          </a:xfrm>
          <a:prstGeom prst="rect">
            <a:avLst/>
          </a:prstGeom>
        </p:spPr>
        <p:txBody>
          <a:bodyPr wrap="none" lIns="0" tIns="0" rIns="0" bIns="0">
            <a:spAutoFit/>
          </a:bodyPr>
          <a:lstStyle/>
          <a:p>
            <a:pPr>
              <a:lnSpc>
                <a:spcPct val="107000"/>
              </a:lnSpc>
            </a:pPr>
            <a:r>
              <a:rPr lang="en-US" sz="1600"/>
              <a:t>Inspect codebase to identify code dependencies that can be converted to packages</a:t>
            </a:r>
          </a:p>
        </p:txBody>
      </p:sp>
      <p:cxnSp>
        <p:nvCxnSpPr>
          <p:cNvPr id="22" name="Straight Connector 21">
            <a:extLst>
              <a:ext uri="{FF2B5EF4-FFF2-40B4-BE49-F238E27FC236}">
                <a16:creationId xmlns:a16="http://schemas.microsoft.com/office/drawing/2014/main" id="{B615E248-BD55-4C6F-8932-138A1C36097B}"/>
              </a:ext>
              <a:ext uri="{C183D7F6-B498-43B3-948B-1728B52AA6E4}">
                <adec:decorative xmlns:adec="http://schemas.microsoft.com/office/drawing/2017/decorative" val="1"/>
              </a:ext>
            </a:extLst>
          </p:cNvPr>
          <p:cNvCxnSpPr>
            <a:cxnSpLocks/>
          </p:cNvCxnSpPr>
          <p:nvPr/>
        </p:nvCxnSpPr>
        <p:spPr>
          <a:xfrm>
            <a:off x="1250950" y="4518579"/>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Picture 31" descr="Icon of a lightning bolt symbol inside a circle">
            <a:extLst>
              <a:ext uri="{FF2B5EF4-FFF2-40B4-BE49-F238E27FC236}">
                <a16:creationId xmlns:a16="http://schemas.microsoft.com/office/drawing/2014/main" id="{AB1214F9-75C9-4443-8B03-BF592F9A965B}"/>
              </a:ext>
            </a:extLst>
          </p:cNvPr>
          <p:cNvPicPr>
            <a:picLocks noChangeAspect="1"/>
          </p:cNvPicPr>
          <p:nvPr/>
        </p:nvPicPr>
        <p:blipFill>
          <a:blip r:embed="rId7"/>
          <a:srcRect l="591" t="591" r="591" b="591"/>
          <a:stretch>
            <a:fillRect/>
          </a:stretch>
        </p:blipFill>
        <p:spPr>
          <a:xfrm>
            <a:off x="432223" y="4573390"/>
            <a:ext cx="630936" cy="630936"/>
          </a:xfrm>
          <a:custGeom>
            <a:avLst/>
            <a:gdLst>
              <a:gd name="connsiteX0" fmla="*/ 315468 w 630936"/>
              <a:gd name="connsiteY0" fmla="*/ 0 h 630936"/>
              <a:gd name="connsiteX1" fmla="*/ 630936 w 630936"/>
              <a:gd name="connsiteY1" fmla="*/ 315468 h 630936"/>
              <a:gd name="connsiteX2" fmla="*/ 315468 w 630936"/>
              <a:gd name="connsiteY2" fmla="*/ 630936 h 630936"/>
              <a:gd name="connsiteX3" fmla="*/ 0 w 630936"/>
              <a:gd name="connsiteY3" fmla="*/ 315468 h 630936"/>
              <a:gd name="connsiteX4" fmla="*/ 315468 w 630936"/>
              <a:gd name="connsiteY4" fmla="*/ 0 h 630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36" h="630936">
                <a:moveTo>
                  <a:pt x="315468" y="0"/>
                </a:moveTo>
                <a:cubicBezTo>
                  <a:pt x="489696" y="0"/>
                  <a:pt x="630936" y="141240"/>
                  <a:pt x="630936" y="315468"/>
                </a:cubicBezTo>
                <a:cubicBezTo>
                  <a:pt x="630936" y="489696"/>
                  <a:pt x="489696" y="630936"/>
                  <a:pt x="315468" y="630936"/>
                </a:cubicBezTo>
                <a:cubicBezTo>
                  <a:pt x="141240" y="630936"/>
                  <a:pt x="0" y="489696"/>
                  <a:pt x="0" y="315468"/>
                </a:cubicBezTo>
                <a:cubicBezTo>
                  <a:pt x="0" y="141240"/>
                  <a:pt x="141240" y="0"/>
                  <a:pt x="315468" y="0"/>
                </a:cubicBezTo>
                <a:close/>
              </a:path>
            </a:pathLst>
          </a:custGeom>
        </p:spPr>
      </p:pic>
      <p:sp>
        <p:nvSpPr>
          <p:cNvPr id="81" name="Rectangle 80">
            <a:extLst>
              <a:ext uri="{FF2B5EF4-FFF2-40B4-BE49-F238E27FC236}">
                <a16:creationId xmlns:a16="http://schemas.microsoft.com/office/drawing/2014/main" id="{1BDC5E8C-5788-42D3-9A02-1832E8956957}"/>
              </a:ext>
            </a:extLst>
          </p:cNvPr>
          <p:cNvSpPr>
            <a:spLocks/>
          </p:cNvSpPr>
          <p:nvPr/>
        </p:nvSpPr>
        <p:spPr>
          <a:xfrm>
            <a:off x="1250949" y="4766047"/>
            <a:ext cx="10707688" cy="244106"/>
          </a:xfrm>
          <a:prstGeom prst="rect">
            <a:avLst/>
          </a:prstGeom>
        </p:spPr>
        <p:txBody>
          <a:bodyPr wrap="none" lIns="0" tIns="0" rIns="0" bIns="0">
            <a:spAutoFit/>
          </a:bodyPr>
          <a:lstStyle/>
          <a:p>
            <a:pPr>
              <a:lnSpc>
                <a:spcPct val="107000"/>
              </a:lnSpc>
            </a:pPr>
            <a:r>
              <a:rPr lang="en-US" sz="1600"/>
              <a:t>Identify and recommend standardized package types and versions across the solution</a:t>
            </a:r>
          </a:p>
        </p:txBody>
      </p:sp>
      <p:cxnSp>
        <p:nvCxnSpPr>
          <p:cNvPr id="23" name="Straight Connector 22">
            <a:extLst>
              <a:ext uri="{FF2B5EF4-FFF2-40B4-BE49-F238E27FC236}">
                <a16:creationId xmlns:a16="http://schemas.microsoft.com/office/drawing/2014/main" id="{4F16E1EE-22A4-49A1-89E8-35F463CFAFEC}"/>
              </a:ext>
              <a:ext uri="{C183D7F6-B498-43B3-948B-1728B52AA6E4}">
                <adec:decorative xmlns:adec="http://schemas.microsoft.com/office/drawing/2017/decorative" val="1"/>
              </a:ext>
            </a:extLst>
          </p:cNvPr>
          <p:cNvCxnSpPr>
            <a:cxnSpLocks/>
          </p:cNvCxnSpPr>
          <p:nvPr/>
        </p:nvCxnSpPr>
        <p:spPr>
          <a:xfrm>
            <a:off x="1250950" y="5259137"/>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2" name="Picture 81" descr="Icon of an arrow that is branched to left and right">
            <a:extLst>
              <a:ext uri="{FF2B5EF4-FFF2-40B4-BE49-F238E27FC236}">
                <a16:creationId xmlns:a16="http://schemas.microsoft.com/office/drawing/2014/main" id="{F64354C7-6A41-4069-B221-06CBE19DA77B}"/>
              </a:ext>
            </a:extLst>
          </p:cNvPr>
          <p:cNvPicPr>
            <a:picLocks noChangeAspect="1"/>
          </p:cNvPicPr>
          <p:nvPr/>
        </p:nvPicPr>
        <p:blipFill>
          <a:blip r:embed="rId8"/>
          <a:stretch>
            <a:fillRect/>
          </a:stretch>
        </p:blipFill>
        <p:spPr>
          <a:xfrm>
            <a:off x="432223" y="5313948"/>
            <a:ext cx="630936" cy="630936"/>
          </a:xfrm>
          <a:prstGeom prst="rect">
            <a:avLst/>
          </a:prstGeom>
        </p:spPr>
      </p:pic>
      <p:sp>
        <p:nvSpPr>
          <p:cNvPr id="90" name="Rectangle 89">
            <a:extLst>
              <a:ext uri="{FF2B5EF4-FFF2-40B4-BE49-F238E27FC236}">
                <a16:creationId xmlns:a16="http://schemas.microsoft.com/office/drawing/2014/main" id="{8EDC3B3E-38CB-42DA-B994-0BAE5127D109}"/>
              </a:ext>
            </a:extLst>
          </p:cNvPr>
          <p:cNvSpPr>
            <a:spLocks/>
          </p:cNvSpPr>
          <p:nvPr/>
        </p:nvSpPr>
        <p:spPr>
          <a:xfrm>
            <a:off x="1250949" y="5506987"/>
            <a:ext cx="10707688" cy="244106"/>
          </a:xfrm>
          <a:prstGeom prst="rect">
            <a:avLst/>
          </a:prstGeom>
        </p:spPr>
        <p:txBody>
          <a:bodyPr wrap="none" lIns="0" tIns="0" rIns="0" bIns="0">
            <a:spAutoFit/>
          </a:bodyPr>
          <a:lstStyle/>
          <a:p>
            <a:pPr>
              <a:lnSpc>
                <a:spcPct val="107000"/>
              </a:lnSpc>
              <a:spcAft>
                <a:spcPts val="816"/>
              </a:spcAft>
            </a:pPr>
            <a:r>
              <a:rPr lang="en-US" sz="1600"/>
              <a:t>Refactor existing build pipelines to implement version strategy that publishes packages</a:t>
            </a:r>
          </a:p>
        </p:txBody>
      </p:sp>
      <p:cxnSp>
        <p:nvCxnSpPr>
          <p:cNvPr id="24" name="Straight Connector 23">
            <a:extLst>
              <a:ext uri="{FF2B5EF4-FFF2-40B4-BE49-F238E27FC236}">
                <a16:creationId xmlns:a16="http://schemas.microsoft.com/office/drawing/2014/main" id="{49E31CAD-0681-4EF2-95C9-1A0B94E89AAF}"/>
              </a:ext>
              <a:ext uri="{C183D7F6-B498-43B3-948B-1728B52AA6E4}">
                <adec:decorative xmlns:adec="http://schemas.microsoft.com/office/drawing/2017/decorative" val="1"/>
              </a:ext>
            </a:extLst>
          </p:cNvPr>
          <p:cNvCxnSpPr>
            <a:cxnSpLocks/>
          </p:cNvCxnSpPr>
          <p:nvPr/>
        </p:nvCxnSpPr>
        <p:spPr>
          <a:xfrm>
            <a:off x="1250950" y="5999695"/>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91" name="Picture 90" descr="Icon of a document">
            <a:extLst>
              <a:ext uri="{FF2B5EF4-FFF2-40B4-BE49-F238E27FC236}">
                <a16:creationId xmlns:a16="http://schemas.microsoft.com/office/drawing/2014/main" id="{30A70166-ED6B-4BDA-A8CB-642182D5A077}"/>
              </a:ext>
            </a:extLst>
          </p:cNvPr>
          <p:cNvPicPr>
            <a:picLocks noChangeAspect="1"/>
          </p:cNvPicPr>
          <p:nvPr/>
        </p:nvPicPr>
        <p:blipFill>
          <a:blip r:embed="rId9"/>
          <a:stretch>
            <a:fillRect/>
          </a:stretch>
        </p:blipFill>
        <p:spPr>
          <a:xfrm>
            <a:off x="432223" y="6054509"/>
            <a:ext cx="630936" cy="630936"/>
          </a:xfrm>
          <a:prstGeom prst="rect">
            <a:avLst/>
          </a:prstGeom>
        </p:spPr>
      </p:pic>
      <p:sp>
        <p:nvSpPr>
          <p:cNvPr id="92" name="Rectangle 91">
            <a:extLst>
              <a:ext uri="{FF2B5EF4-FFF2-40B4-BE49-F238E27FC236}">
                <a16:creationId xmlns:a16="http://schemas.microsoft.com/office/drawing/2014/main" id="{8E9525BD-703D-42DD-B24F-AE3BA4B6372B}"/>
              </a:ext>
            </a:extLst>
          </p:cNvPr>
          <p:cNvSpPr>
            <a:spLocks/>
          </p:cNvSpPr>
          <p:nvPr/>
        </p:nvSpPr>
        <p:spPr>
          <a:xfrm>
            <a:off x="1250949" y="6247924"/>
            <a:ext cx="10707688" cy="244106"/>
          </a:xfrm>
          <a:prstGeom prst="rect">
            <a:avLst/>
          </a:prstGeom>
        </p:spPr>
        <p:txBody>
          <a:bodyPr wrap="none" lIns="0" tIns="0" rIns="0" bIns="0">
            <a:spAutoFit/>
          </a:bodyPr>
          <a:lstStyle/>
          <a:p>
            <a:pPr>
              <a:lnSpc>
                <a:spcPct val="107000"/>
              </a:lnSpc>
              <a:spcAft>
                <a:spcPts val="816"/>
              </a:spcAft>
            </a:pPr>
            <a:r>
              <a:rPr lang="en-US" sz="1600"/>
              <a:t>Manage security and compliance</a:t>
            </a:r>
          </a:p>
        </p:txBody>
      </p:sp>
    </p:spTree>
    <p:extLst>
      <p:ext uri="{BB962C8B-B14F-4D97-AF65-F5344CB8AC3E}">
        <p14:creationId xmlns:p14="http://schemas.microsoft.com/office/powerpoint/2010/main" val="5913486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p:txBody>
          <a:bodyPr/>
          <a:lstStyle/>
          <a:p>
            <a:r>
              <a:rPr lang="en-US"/>
              <a:t>Lesson 02: Package security</a:t>
            </a:r>
          </a:p>
        </p:txBody>
      </p:sp>
      <p:pic>
        <p:nvPicPr>
          <p:cNvPr id="3" name="Picture 2" descr="Icon of a security lock">
            <a:extLst>
              <a:ext uri="{FF2B5EF4-FFF2-40B4-BE49-F238E27FC236}">
                <a16:creationId xmlns:a16="http://schemas.microsoft.com/office/drawing/2014/main" id="{B89D6553-01D0-458A-A370-26C78EFEBC44}"/>
              </a:ext>
            </a:extLst>
          </p:cNvPr>
          <p:cNvPicPr>
            <a:picLocks noChangeAspect="1"/>
          </p:cNvPicPr>
          <p:nvPr/>
        </p:nvPicPr>
        <p:blipFill rotWithShape="1">
          <a:blip r:embed="rId2"/>
          <a:srcRect b="21522"/>
          <a:stretch/>
        </p:blipFill>
        <p:spPr>
          <a:xfrm>
            <a:off x="10480575" y="2946400"/>
            <a:ext cx="838398" cy="1109980"/>
          </a:xfrm>
          <a:prstGeom prst="rect">
            <a:avLst/>
          </a:prstGeom>
        </p:spPr>
      </p:pic>
    </p:spTree>
    <p:extLst>
      <p:ext uri="{BB962C8B-B14F-4D97-AF65-F5344CB8AC3E}">
        <p14:creationId xmlns:p14="http://schemas.microsoft.com/office/powerpoint/2010/main" val="24021960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3E18-C4BF-4BB3-8E97-4DD775CC5B98}"/>
              </a:ext>
            </a:extLst>
          </p:cNvPr>
          <p:cNvSpPr>
            <a:spLocks noGrp="1"/>
          </p:cNvSpPr>
          <p:nvPr>
            <p:ph type="title"/>
          </p:nvPr>
        </p:nvSpPr>
        <p:spPr/>
        <p:txBody>
          <a:bodyPr/>
          <a:lstStyle/>
          <a:p>
            <a:r>
              <a:rPr lang="en-US"/>
              <a:t>Package feeds</a:t>
            </a:r>
          </a:p>
        </p:txBody>
      </p:sp>
      <p:sp>
        <p:nvSpPr>
          <p:cNvPr id="15" name="TextBox 14">
            <a:extLst>
              <a:ext uri="{FF2B5EF4-FFF2-40B4-BE49-F238E27FC236}">
                <a16:creationId xmlns:a16="http://schemas.microsoft.com/office/drawing/2014/main" id="{60BC454C-1CED-40FA-B429-5E2DBB126F2D}"/>
              </a:ext>
            </a:extLst>
          </p:cNvPr>
          <p:cNvSpPr txBox="1"/>
          <p:nvPr/>
        </p:nvSpPr>
        <p:spPr>
          <a:xfrm>
            <a:off x="466344" y="1188720"/>
            <a:ext cx="11582400" cy="369332"/>
          </a:xfrm>
          <a:prstGeom prst="rect">
            <a:avLst/>
          </a:prstGeom>
          <a:noFill/>
        </p:spPr>
        <p:txBody>
          <a:bodyPr wrap="square" lIns="0" tIns="0" rIns="0" bIns="0" anchor="ctr">
            <a:spAutoFit/>
          </a:bodyPr>
          <a:lstStyle/>
          <a:p>
            <a:r>
              <a:rPr lang="en-US" sz="2400">
                <a:latin typeface="+mj-lt"/>
              </a:rPr>
              <a:t>Package feeds are trusted sources of packages</a:t>
            </a:r>
          </a:p>
        </p:txBody>
      </p:sp>
      <p:pic>
        <p:nvPicPr>
          <p:cNvPr id="5" name="Picture 4" descr="Icon of arrow positioned diagonally">
            <a:extLst>
              <a:ext uri="{FF2B5EF4-FFF2-40B4-BE49-F238E27FC236}">
                <a16:creationId xmlns:a16="http://schemas.microsoft.com/office/drawing/2014/main" id="{D96BE544-D603-466B-8F44-9F5765160B8A}"/>
              </a:ext>
            </a:extLst>
          </p:cNvPr>
          <p:cNvPicPr>
            <a:picLocks noChangeAspect="1"/>
          </p:cNvPicPr>
          <p:nvPr/>
        </p:nvPicPr>
        <p:blipFill>
          <a:blip r:embed="rId2"/>
          <a:stretch>
            <a:fillRect/>
          </a:stretch>
        </p:blipFill>
        <p:spPr>
          <a:xfrm>
            <a:off x="431419" y="2104647"/>
            <a:ext cx="952500" cy="952500"/>
          </a:xfrm>
          <a:prstGeom prst="rect">
            <a:avLst/>
          </a:prstGeom>
        </p:spPr>
      </p:pic>
      <p:sp>
        <p:nvSpPr>
          <p:cNvPr id="9" name="Rectangle 8">
            <a:extLst>
              <a:ext uri="{FF2B5EF4-FFF2-40B4-BE49-F238E27FC236}">
                <a16:creationId xmlns:a16="http://schemas.microsoft.com/office/drawing/2014/main" id="{1AB8FABD-80F9-4396-BE4F-97FA84A5C605}"/>
              </a:ext>
            </a:extLst>
          </p:cNvPr>
          <p:cNvSpPr/>
          <p:nvPr/>
        </p:nvSpPr>
        <p:spPr>
          <a:xfrm>
            <a:off x="1600200" y="2001251"/>
            <a:ext cx="10374313" cy="1159292"/>
          </a:xfrm>
          <a:prstGeom prst="rect">
            <a:avLst/>
          </a:prstGeom>
          <a:solidFill>
            <a:schemeClr val="bg1"/>
          </a:solidFill>
        </p:spPr>
        <p:txBody>
          <a:bodyPr wrap="square" lIns="0" tIns="0" rIns="0" bIns="0">
            <a:spAutoFit/>
          </a:bodyPr>
          <a:lstStyle/>
          <a:p>
            <a:r>
              <a:rPr lang="en-US" sz="2200">
                <a:latin typeface="+mj-lt"/>
              </a:rPr>
              <a:t>Feeds have to be secured:</a:t>
            </a:r>
          </a:p>
          <a:p>
            <a:pPr>
              <a:spcBef>
                <a:spcPts val="600"/>
              </a:spcBef>
              <a:spcAft>
                <a:spcPts val="600"/>
              </a:spcAft>
            </a:pPr>
            <a:r>
              <a:rPr lang="en-US" sz="2000"/>
              <a:t>Private feeds </a:t>
            </a:r>
          </a:p>
          <a:p>
            <a:pPr>
              <a:spcBef>
                <a:spcPts val="400"/>
              </a:spcBef>
              <a:spcAft>
                <a:spcPts val="600"/>
              </a:spcAft>
            </a:pPr>
            <a:r>
              <a:rPr lang="en-US" sz="2000"/>
              <a:t>Not allow access by unauthorized users for publishing</a:t>
            </a:r>
          </a:p>
        </p:txBody>
      </p:sp>
    </p:spTree>
    <p:extLst>
      <p:ext uri="{BB962C8B-B14F-4D97-AF65-F5344CB8AC3E}">
        <p14:creationId xmlns:p14="http://schemas.microsoft.com/office/powerpoint/2010/main" val="13098349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02C09-E817-4F8F-ABD2-832EEFF390ED}"/>
              </a:ext>
            </a:extLst>
          </p:cNvPr>
          <p:cNvSpPr>
            <a:spLocks noGrp="1"/>
          </p:cNvSpPr>
          <p:nvPr>
            <p:ph type="title"/>
          </p:nvPr>
        </p:nvSpPr>
        <p:spPr/>
        <p:txBody>
          <a:bodyPr/>
          <a:lstStyle/>
          <a:p>
            <a:r>
              <a:rPr lang="en-US"/>
              <a:t>Package compliance</a:t>
            </a:r>
          </a:p>
        </p:txBody>
      </p:sp>
      <p:pic>
        <p:nvPicPr>
          <p:cNvPr id="20" name="Picture 19" descr="Icon of government building">
            <a:extLst>
              <a:ext uri="{FF2B5EF4-FFF2-40B4-BE49-F238E27FC236}">
                <a16:creationId xmlns:a16="http://schemas.microsoft.com/office/drawing/2014/main" id="{A6E77589-E575-43DB-81A9-2CAD9F0D3691}"/>
              </a:ext>
            </a:extLst>
          </p:cNvPr>
          <p:cNvPicPr>
            <a:picLocks noChangeAspect="1"/>
          </p:cNvPicPr>
          <p:nvPr/>
        </p:nvPicPr>
        <p:blipFill>
          <a:blip r:embed="rId2"/>
          <a:stretch>
            <a:fillRect/>
          </a:stretch>
        </p:blipFill>
        <p:spPr>
          <a:xfrm>
            <a:off x="436190" y="1715062"/>
            <a:ext cx="952500" cy="952500"/>
          </a:xfrm>
          <a:prstGeom prst="rect">
            <a:avLst/>
          </a:prstGeom>
        </p:spPr>
      </p:pic>
      <p:sp>
        <p:nvSpPr>
          <p:cNvPr id="8" name="Rectangle 7">
            <a:extLst>
              <a:ext uri="{FF2B5EF4-FFF2-40B4-BE49-F238E27FC236}">
                <a16:creationId xmlns:a16="http://schemas.microsoft.com/office/drawing/2014/main" id="{7544243E-8E7B-4622-BB53-A2C02B6F26C0}"/>
              </a:ext>
            </a:extLst>
          </p:cNvPr>
          <p:cNvSpPr/>
          <p:nvPr/>
        </p:nvSpPr>
        <p:spPr>
          <a:xfrm>
            <a:off x="1676399" y="1715062"/>
            <a:ext cx="10333039" cy="1677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a:solidFill>
                  <a:schemeClr val="tx1"/>
                </a:solidFill>
                <a:latin typeface="+mj-lt"/>
              </a:rPr>
              <a:t>Companies must be compliant to rules and regulations:</a:t>
            </a:r>
          </a:p>
          <a:p>
            <a:pPr>
              <a:spcBef>
                <a:spcPts val="600"/>
              </a:spcBef>
              <a:spcAft>
                <a:spcPts val="600"/>
              </a:spcAft>
            </a:pPr>
            <a:r>
              <a:rPr lang="en-US" sz="2000">
                <a:solidFill>
                  <a:schemeClr val="tx1"/>
                </a:solidFill>
              </a:rPr>
              <a:t>Governmental</a:t>
            </a:r>
          </a:p>
          <a:p>
            <a:pPr>
              <a:spcBef>
                <a:spcPts val="600"/>
              </a:spcBef>
              <a:spcAft>
                <a:spcPts val="600"/>
              </a:spcAft>
            </a:pPr>
            <a:r>
              <a:rPr lang="en-US" sz="2000">
                <a:solidFill>
                  <a:schemeClr val="tx1"/>
                </a:solidFill>
              </a:rPr>
              <a:t>Certification</a:t>
            </a:r>
          </a:p>
          <a:p>
            <a:pPr>
              <a:spcBef>
                <a:spcPts val="600"/>
              </a:spcBef>
              <a:spcAft>
                <a:spcPts val="600"/>
              </a:spcAft>
            </a:pPr>
            <a:r>
              <a:rPr lang="en-US" sz="2000">
                <a:solidFill>
                  <a:schemeClr val="tx1"/>
                </a:solidFill>
              </a:rPr>
              <a:t>Standards</a:t>
            </a:r>
          </a:p>
        </p:txBody>
      </p:sp>
      <p:cxnSp>
        <p:nvCxnSpPr>
          <p:cNvPr id="21" name="Straight Connector 20">
            <a:extLst>
              <a:ext uri="{FF2B5EF4-FFF2-40B4-BE49-F238E27FC236}">
                <a16:creationId xmlns:a16="http://schemas.microsoft.com/office/drawing/2014/main" id="{90299F12-77C2-4A4F-B1BA-DC3F7874C987}"/>
              </a:ext>
              <a:ext uri="{C183D7F6-B498-43B3-948B-1728B52AA6E4}">
                <adec:decorative xmlns:adec="http://schemas.microsoft.com/office/drawing/2017/decorative" val="1"/>
              </a:ext>
            </a:extLst>
          </p:cNvPr>
          <p:cNvCxnSpPr>
            <a:cxnSpLocks/>
          </p:cNvCxnSpPr>
          <p:nvPr/>
        </p:nvCxnSpPr>
        <p:spPr>
          <a:xfrm>
            <a:off x="1676400" y="3776978"/>
            <a:ext cx="103330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Icon of three squares and a cloud">
            <a:extLst>
              <a:ext uri="{FF2B5EF4-FFF2-40B4-BE49-F238E27FC236}">
                <a16:creationId xmlns:a16="http://schemas.microsoft.com/office/drawing/2014/main" id="{E5A7E5C7-7E34-41F1-8782-15AC39877BE7}"/>
              </a:ext>
            </a:extLst>
          </p:cNvPr>
          <p:cNvPicPr>
            <a:picLocks noChangeAspect="1"/>
          </p:cNvPicPr>
          <p:nvPr/>
        </p:nvPicPr>
        <p:blipFill>
          <a:blip r:embed="rId3"/>
          <a:stretch>
            <a:fillRect/>
          </a:stretch>
        </p:blipFill>
        <p:spPr>
          <a:xfrm>
            <a:off x="436190" y="3899358"/>
            <a:ext cx="952500" cy="952500"/>
          </a:xfrm>
          <a:prstGeom prst="rect">
            <a:avLst/>
          </a:prstGeom>
        </p:spPr>
      </p:pic>
      <p:sp>
        <p:nvSpPr>
          <p:cNvPr id="46" name="Rectangle 45">
            <a:extLst>
              <a:ext uri="{FF2B5EF4-FFF2-40B4-BE49-F238E27FC236}">
                <a16:creationId xmlns:a16="http://schemas.microsoft.com/office/drawing/2014/main" id="{BCE7C5D5-D840-4EA6-9A51-1BEE64B25B89}"/>
              </a:ext>
            </a:extLst>
          </p:cNvPr>
          <p:cNvSpPr/>
          <p:nvPr/>
        </p:nvSpPr>
        <p:spPr>
          <a:xfrm>
            <a:off x="1676399" y="4192545"/>
            <a:ext cx="10333039" cy="36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nSpc>
                <a:spcPct val="107000"/>
              </a:lnSpc>
              <a:spcAft>
                <a:spcPts val="816"/>
              </a:spcAft>
            </a:pPr>
            <a:r>
              <a:rPr lang="en-US" sz="2400">
                <a:solidFill>
                  <a:schemeClr val="tx1"/>
                </a:solidFill>
              </a:rPr>
              <a:t>Open-source software have licenses that might violate compliancy rules</a:t>
            </a:r>
          </a:p>
        </p:txBody>
      </p:sp>
      <p:cxnSp>
        <p:nvCxnSpPr>
          <p:cNvPr id="41" name="Straight Connector 40">
            <a:extLst>
              <a:ext uri="{FF2B5EF4-FFF2-40B4-BE49-F238E27FC236}">
                <a16:creationId xmlns:a16="http://schemas.microsoft.com/office/drawing/2014/main" id="{FCCF6FB2-2624-4E78-9F4E-37B2472C2560}"/>
              </a:ext>
              <a:ext uri="{C183D7F6-B498-43B3-948B-1728B52AA6E4}">
                <adec:decorative xmlns:adec="http://schemas.microsoft.com/office/drawing/2017/decorative" val="1"/>
              </a:ext>
            </a:extLst>
          </p:cNvPr>
          <p:cNvCxnSpPr>
            <a:cxnSpLocks/>
          </p:cNvCxnSpPr>
          <p:nvPr/>
        </p:nvCxnSpPr>
        <p:spPr>
          <a:xfrm>
            <a:off x="1676400" y="5048992"/>
            <a:ext cx="103330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5" name="Picture 14" descr="Icon of a gear and a arrow going across it">
            <a:extLst>
              <a:ext uri="{FF2B5EF4-FFF2-40B4-BE49-F238E27FC236}">
                <a16:creationId xmlns:a16="http://schemas.microsoft.com/office/drawing/2014/main" id="{EEC9DA3E-20EA-43D5-80E8-C50C03599F2A}"/>
              </a:ext>
            </a:extLst>
          </p:cNvPr>
          <p:cNvPicPr>
            <a:picLocks noChangeAspect="1"/>
          </p:cNvPicPr>
          <p:nvPr/>
        </p:nvPicPr>
        <p:blipFill>
          <a:blip r:embed="rId4"/>
          <a:srcRect l="1044" t="1044" r="1044" b="1044"/>
          <a:stretch>
            <a:fillRect/>
          </a:stretch>
        </p:blipFill>
        <p:spPr>
          <a:xfrm>
            <a:off x="446136" y="5383615"/>
            <a:ext cx="932608" cy="932608"/>
          </a:xfrm>
          <a:custGeom>
            <a:avLst/>
            <a:gdLst>
              <a:gd name="connsiteX0" fmla="*/ 466304 w 932608"/>
              <a:gd name="connsiteY0" fmla="*/ 0 h 932608"/>
              <a:gd name="connsiteX1" fmla="*/ 932608 w 932608"/>
              <a:gd name="connsiteY1" fmla="*/ 466304 h 932608"/>
              <a:gd name="connsiteX2" fmla="*/ 466304 w 932608"/>
              <a:gd name="connsiteY2" fmla="*/ 932608 h 932608"/>
              <a:gd name="connsiteX3" fmla="*/ 0 w 932608"/>
              <a:gd name="connsiteY3" fmla="*/ 466304 h 932608"/>
              <a:gd name="connsiteX4" fmla="*/ 466304 w 932608"/>
              <a:gd name="connsiteY4" fmla="*/ 0 h 93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608" h="932608">
                <a:moveTo>
                  <a:pt x="466304" y="0"/>
                </a:moveTo>
                <a:cubicBezTo>
                  <a:pt x="723837" y="0"/>
                  <a:pt x="932608" y="208771"/>
                  <a:pt x="932608" y="466304"/>
                </a:cubicBezTo>
                <a:cubicBezTo>
                  <a:pt x="932608" y="723837"/>
                  <a:pt x="723837" y="932608"/>
                  <a:pt x="466304" y="932608"/>
                </a:cubicBezTo>
                <a:cubicBezTo>
                  <a:pt x="208771" y="932608"/>
                  <a:pt x="0" y="723837"/>
                  <a:pt x="0" y="466304"/>
                </a:cubicBezTo>
                <a:cubicBezTo>
                  <a:pt x="0" y="208771"/>
                  <a:pt x="208771" y="0"/>
                  <a:pt x="466304" y="0"/>
                </a:cubicBezTo>
                <a:close/>
              </a:path>
            </a:pathLst>
          </a:custGeom>
        </p:spPr>
      </p:pic>
      <p:sp>
        <p:nvSpPr>
          <p:cNvPr id="45" name="Rectangle 44">
            <a:extLst>
              <a:ext uri="{FF2B5EF4-FFF2-40B4-BE49-F238E27FC236}">
                <a16:creationId xmlns:a16="http://schemas.microsoft.com/office/drawing/2014/main" id="{61B2E846-DB08-466E-8470-56F194457A97}"/>
              </a:ext>
            </a:extLst>
          </p:cNvPr>
          <p:cNvSpPr/>
          <p:nvPr/>
        </p:nvSpPr>
        <p:spPr>
          <a:xfrm>
            <a:off x="1676399" y="5666856"/>
            <a:ext cx="10333039" cy="36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nSpc>
                <a:spcPct val="107000"/>
              </a:lnSpc>
              <a:spcAft>
                <a:spcPts val="816"/>
              </a:spcAft>
            </a:pPr>
            <a:r>
              <a:rPr lang="en-US" sz="2400">
                <a:solidFill>
                  <a:schemeClr val="tx1"/>
                </a:solidFill>
              </a:rPr>
              <a:t>Compliancy should be guaranteed and provable</a:t>
            </a:r>
          </a:p>
        </p:txBody>
      </p:sp>
    </p:spTree>
    <p:extLst>
      <p:ext uri="{BB962C8B-B14F-4D97-AF65-F5344CB8AC3E}">
        <p14:creationId xmlns:p14="http://schemas.microsoft.com/office/powerpoint/2010/main" val="10912273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01EBD-ED19-4075-B5B2-90C51472964A}"/>
              </a:ext>
            </a:extLst>
          </p:cNvPr>
          <p:cNvSpPr>
            <a:spLocks noGrp="1"/>
          </p:cNvSpPr>
          <p:nvPr>
            <p:ph type="title"/>
          </p:nvPr>
        </p:nvSpPr>
        <p:spPr>
          <a:xfrm>
            <a:off x="465138" y="632779"/>
            <a:ext cx="11533187" cy="411162"/>
          </a:xfrm>
        </p:spPr>
        <p:txBody>
          <a:bodyPr/>
          <a:lstStyle/>
          <a:p>
            <a:r>
              <a:rPr lang="en-US" b="1"/>
              <a:t>Securing access to package feeds</a:t>
            </a:r>
            <a:endParaRPr lang="en-US"/>
          </a:p>
        </p:txBody>
      </p:sp>
      <p:sp>
        <p:nvSpPr>
          <p:cNvPr id="38" name="Rectangle 37">
            <a:extLst>
              <a:ext uri="{FF2B5EF4-FFF2-40B4-BE49-F238E27FC236}">
                <a16:creationId xmlns:a16="http://schemas.microsoft.com/office/drawing/2014/main" id="{8B2B666E-5AC6-43F4-941C-D4B9053E9EAC}"/>
              </a:ext>
            </a:extLst>
          </p:cNvPr>
          <p:cNvSpPr>
            <a:spLocks/>
          </p:cNvSpPr>
          <p:nvPr/>
        </p:nvSpPr>
        <p:spPr bwMode="auto">
          <a:xfrm>
            <a:off x="427037" y="2201863"/>
            <a:ext cx="5681898" cy="242381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Restricted access for consumption:</a:t>
            </a:r>
          </a:p>
          <a:p>
            <a:pPr marL="0" marR="0" lvl="1" algn="l" defTabSz="932742" rtl="0" eaLnBrk="1" fontAlgn="auto" latinLnBrk="0" hangingPunct="1">
              <a:lnSpc>
                <a:spcPct val="100000"/>
              </a:lnSpc>
              <a:spcAft>
                <a:spcPts val="0"/>
              </a:spcAft>
              <a:buClrTx/>
              <a:buSzTx/>
              <a:buFontTx/>
              <a:buNone/>
              <a:tabLst/>
              <a:defRPr/>
            </a:pPr>
            <a:r>
              <a:rPr kumimoji="0" lang="en-US" sz="2000" b="0" i="0" u="none" strike="noStrike" kern="1200" cap="none" spc="0" normalizeH="0" baseline="0" noProof="0">
                <a:ln>
                  <a:noFill/>
                </a:ln>
                <a:solidFill>
                  <a:schemeClr val="tx1"/>
                </a:solidFill>
                <a:effectLst/>
                <a:uLnTx/>
                <a:uFillTx/>
                <a:ea typeface="+mn-ea"/>
                <a:cs typeface="+mn-cs"/>
              </a:rPr>
              <a:t>Whenever a package feed and its packages should only be consumed by a certain audience, it is required to restrict access to it. Only those allowed access will be able to consume the packages from the feed</a:t>
            </a:r>
          </a:p>
        </p:txBody>
      </p:sp>
      <p:sp>
        <p:nvSpPr>
          <p:cNvPr id="39" name="Rectangle 38">
            <a:extLst>
              <a:ext uri="{FF2B5EF4-FFF2-40B4-BE49-F238E27FC236}">
                <a16:creationId xmlns:a16="http://schemas.microsoft.com/office/drawing/2014/main" id="{01EEEE1F-7E86-462B-AFC3-733FED924611}"/>
              </a:ext>
            </a:extLst>
          </p:cNvPr>
          <p:cNvSpPr>
            <a:spLocks/>
          </p:cNvSpPr>
          <p:nvPr/>
        </p:nvSpPr>
        <p:spPr bwMode="auto">
          <a:xfrm>
            <a:off x="6316426" y="2201863"/>
            <a:ext cx="5681898" cy="242381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Aft>
                <a:spcPts val="0"/>
              </a:spcAft>
              <a:buClrTx/>
              <a:buSzTx/>
              <a:buFontTx/>
              <a:buNone/>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Restricted access for publishing:</a:t>
            </a:r>
          </a:p>
          <a:p>
            <a:pPr marL="0" lvl="1">
              <a:defRPr/>
            </a:pPr>
            <a:r>
              <a:rPr lang="en-US" sz="2000">
                <a:solidFill>
                  <a:schemeClr val="tx1"/>
                </a:solidFill>
              </a:rPr>
              <a:t>Secure access is required to restrict who can publish so feeds and their packages cannot be modified by unauthorized or untrusted persons and accounts</a:t>
            </a:r>
          </a:p>
        </p:txBody>
      </p:sp>
    </p:spTree>
    <p:extLst>
      <p:ext uri="{BB962C8B-B14F-4D97-AF65-F5344CB8AC3E}">
        <p14:creationId xmlns:p14="http://schemas.microsoft.com/office/powerpoint/2010/main" val="33899641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5EEA6-3E21-4270-979A-908224F71B11}"/>
              </a:ext>
            </a:extLst>
          </p:cNvPr>
          <p:cNvSpPr>
            <a:spLocks noGrp="1"/>
          </p:cNvSpPr>
          <p:nvPr>
            <p:ph type="title"/>
          </p:nvPr>
        </p:nvSpPr>
        <p:spPr/>
        <p:txBody>
          <a:bodyPr/>
          <a:lstStyle/>
          <a:p>
            <a:r>
              <a:rPr lang="en-US"/>
              <a:t>Roles</a:t>
            </a:r>
          </a:p>
        </p:txBody>
      </p:sp>
      <p:sp>
        <p:nvSpPr>
          <p:cNvPr id="5" name="Rectangle 4">
            <a:extLst>
              <a:ext uri="{FF2B5EF4-FFF2-40B4-BE49-F238E27FC236}">
                <a16:creationId xmlns:a16="http://schemas.microsoft.com/office/drawing/2014/main" id="{6A65032E-C239-46AC-804F-8326EE47CF22}"/>
              </a:ext>
            </a:extLst>
          </p:cNvPr>
          <p:cNvSpPr/>
          <p:nvPr/>
        </p:nvSpPr>
        <p:spPr>
          <a:xfrm>
            <a:off x="429418" y="1486696"/>
            <a:ext cx="5006182" cy="4634704"/>
          </a:xfrm>
          <a:prstGeom prst="rect">
            <a:avLst/>
          </a:prstGeom>
          <a:solidFill>
            <a:schemeClr val="bg1">
              <a:lumMod val="95000"/>
            </a:schemeClr>
          </a:solidFill>
          <a:ln w="19050">
            <a:solidFill>
              <a:schemeClr val="bg1">
                <a:lumMod val="95000"/>
              </a:schemeClr>
            </a:solidFill>
          </a:ln>
        </p:spPr>
        <p:txBody>
          <a:bodyPr wrap="square" lIns="182880" tIns="137160" rIns="182880" bIns="137160">
            <a:noAutofit/>
          </a:bodyPr>
          <a:lstStyle/>
          <a:p>
            <a:pPr>
              <a:spcBef>
                <a:spcPts val="600"/>
              </a:spcBef>
            </a:pPr>
            <a:r>
              <a:rPr lang="en-US" sz="2400">
                <a:solidFill>
                  <a:schemeClr val="tx2"/>
                </a:solidFill>
                <a:latin typeface="+mj-lt"/>
              </a:rPr>
              <a:t>Available roles in Azure Artifacts:</a:t>
            </a:r>
          </a:p>
          <a:p>
            <a:pPr marL="0" lvl="1">
              <a:spcBef>
                <a:spcPts val="200"/>
              </a:spcBef>
              <a:spcAft>
                <a:spcPts val="600"/>
              </a:spcAft>
            </a:pPr>
            <a:r>
              <a:rPr lang="en-US">
                <a:latin typeface="+mj-lt"/>
              </a:rPr>
              <a:t>Reader</a:t>
            </a:r>
            <a:r>
              <a:rPr lang="en-US"/>
              <a:t>: Can list and restore (or install) packages from the feed</a:t>
            </a:r>
          </a:p>
          <a:p>
            <a:pPr marL="0" lvl="1">
              <a:spcBef>
                <a:spcPts val="200"/>
              </a:spcBef>
              <a:spcAft>
                <a:spcPts val="600"/>
              </a:spcAft>
            </a:pPr>
            <a:r>
              <a:rPr lang="en-US">
                <a:latin typeface="+mj-lt"/>
              </a:rPr>
              <a:t>Collaborator: </a:t>
            </a:r>
            <a:r>
              <a:rPr lang="en-US"/>
              <a:t>Is able to save packages from </a:t>
            </a:r>
            <a:br>
              <a:rPr lang="en-US"/>
            </a:br>
            <a:r>
              <a:rPr lang="en-US"/>
              <a:t>upstream sources</a:t>
            </a:r>
          </a:p>
          <a:p>
            <a:pPr marL="0" lvl="1">
              <a:spcBef>
                <a:spcPts val="200"/>
              </a:spcBef>
              <a:spcAft>
                <a:spcPts val="600"/>
              </a:spcAft>
            </a:pPr>
            <a:r>
              <a:rPr lang="en-US">
                <a:latin typeface="+mj-lt"/>
              </a:rPr>
              <a:t>Contributor: </a:t>
            </a:r>
            <a:r>
              <a:rPr lang="en-US"/>
              <a:t>Can push and </a:t>
            </a:r>
            <a:r>
              <a:rPr lang="en-US" err="1"/>
              <a:t>unlist</a:t>
            </a:r>
            <a:r>
              <a:rPr lang="en-US"/>
              <a:t> packages </a:t>
            </a:r>
            <a:br>
              <a:rPr lang="en-US"/>
            </a:br>
            <a:r>
              <a:rPr lang="en-US"/>
              <a:t>in the feed</a:t>
            </a:r>
          </a:p>
          <a:p>
            <a:pPr marL="0" lvl="1">
              <a:spcBef>
                <a:spcPts val="200"/>
              </a:spcBef>
              <a:spcAft>
                <a:spcPts val="600"/>
              </a:spcAft>
            </a:pPr>
            <a:r>
              <a:rPr lang="en-US">
                <a:latin typeface="+mj-lt"/>
              </a:rPr>
              <a:t>Owner:</a:t>
            </a:r>
            <a:r>
              <a:rPr lang="en-US"/>
              <a:t> Has all available permissions for a </a:t>
            </a:r>
            <a:br>
              <a:rPr lang="en-US"/>
            </a:br>
            <a:r>
              <a:rPr lang="en-US"/>
              <a:t>package feed</a:t>
            </a:r>
          </a:p>
          <a:p>
            <a:pPr marL="0" lvl="1">
              <a:spcBef>
                <a:spcPts val="1800"/>
              </a:spcBef>
            </a:pPr>
            <a:r>
              <a:rPr lang="en-US" sz="2400" b="1">
                <a:solidFill>
                  <a:schemeClr val="tx2"/>
                </a:solidFill>
                <a:latin typeface="+mj-lt"/>
              </a:rPr>
              <a:t>Project Collection Build Service</a:t>
            </a:r>
            <a:br>
              <a:rPr lang="en-US" sz="2400">
                <a:solidFill>
                  <a:schemeClr val="tx2"/>
                </a:solidFill>
                <a:latin typeface="+mj-lt"/>
              </a:rPr>
            </a:br>
            <a:r>
              <a:rPr lang="en-US" sz="2400"/>
              <a:t>is contributor by default</a:t>
            </a:r>
          </a:p>
        </p:txBody>
      </p:sp>
      <p:pic>
        <p:nvPicPr>
          <p:cNvPr id="4" name="Picture 3" descr="Screenshot of DevOps Certification Feed settings">
            <a:extLst>
              <a:ext uri="{FF2B5EF4-FFF2-40B4-BE49-F238E27FC236}">
                <a16:creationId xmlns:a16="http://schemas.microsoft.com/office/drawing/2014/main" id="{5F47861D-292F-4FAA-A2F1-41DC31E37ECC}"/>
              </a:ext>
            </a:extLst>
          </p:cNvPr>
          <p:cNvPicPr>
            <a:picLocks noChangeAspect="1"/>
          </p:cNvPicPr>
          <p:nvPr/>
        </p:nvPicPr>
        <p:blipFill rotWithShape="1">
          <a:blip r:embed="rId2">
            <a:extLst>
              <a:ext uri="{28A0092B-C50C-407E-A947-70E740481C1C}">
                <a14:useLocalDpi xmlns:a14="http://schemas.microsoft.com/office/drawing/2010/main" val="0"/>
              </a:ext>
            </a:extLst>
          </a:blip>
          <a:srcRect l="-1976" t="-3239" r="-1976" b="-31571"/>
          <a:stretch/>
        </p:blipFill>
        <p:spPr>
          <a:xfrm>
            <a:off x="5600700" y="1484313"/>
            <a:ext cx="6408738" cy="4634703"/>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24961132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marR="0" indent="0" algn="l" defTabSz="932742" rtl="0" eaLnBrk="1" fontAlgn="auto" latinLnBrk="0" hangingPunct="1">
          <a:lnSpc>
            <a:spcPct val="100000"/>
          </a:lnSpc>
          <a:spcBef>
            <a:spcPts val="0"/>
          </a:spcBef>
          <a:spcAft>
            <a:spcPts val="0"/>
          </a:spcAft>
          <a:buClrTx/>
          <a:buSzTx/>
          <a:buFontTx/>
          <a:buNone/>
          <a:tabLst/>
          <a:defRPr kumimoji="0" sz="2000" b="0" i="0" u="none" strike="noStrike" kern="1200" cap="none" spc="0" normalizeH="0" baseline="0" noProof="0" dirty="0" smtClean="0">
            <a:ln>
              <a:noFill/>
            </a:ln>
            <a:solidFill>
              <a:srgbClr val="000000"/>
            </a:solidFill>
            <a:effectLst/>
            <a:uLnTx/>
            <a:uFillTx/>
            <a:latin typeface="Segoe UI Semibold"/>
            <a:ea typeface="+mn-ea"/>
            <a:cs typeface="+mn-cs"/>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0305D32150D746ACEC7EE1F47590FB" ma:contentTypeVersion="6" ma:contentTypeDescription="Create a new document." ma:contentTypeScope="" ma:versionID="bd314a4cb5a5f0e3d803d6fe54ceca07">
  <xsd:schema xmlns:xsd="http://www.w3.org/2001/XMLSchema" xmlns:xs="http://www.w3.org/2001/XMLSchema" xmlns:p="http://schemas.microsoft.com/office/2006/metadata/properties" xmlns:ns1="http://schemas.microsoft.com/sharepoint/v3" xmlns:ns2="0aa551a1-3cd1-453b-b985-d0d43f91ae14" targetNamespace="http://schemas.microsoft.com/office/2006/metadata/properties" ma:root="true" ma:fieldsID="bfbb6cf21f6f1a0d29f3532108c2446d" ns1:_="" ns2:_="">
    <xsd:import namespace="http://schemas.microsoft.com/sharepoint/v3"/>
    <xsd:import namespace="0aa551a1-3cd1-453b-b985-d0d43f91ae1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a551a1-3cd1-453b-b985-d0d43f91ae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D728EAC1-CFC1-4D24-B0BE-2303C7CFD9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a551a1-3cd1-453b-b985-d0d43f91ae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TotalTime>
  <Words>1608</Words>
  <Application>Microsoft Office PowerPoint</Application>
  <PresentationFormat>Custom</PresentationFormat>
  <Paragraphs>260</Paragraphs>
  <Slides>38</Slides>
  <Notes>1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8</vt:i4>
      </vt:variant>
    </vt:vector>
  </HeadingPairs>
  <TitlesOfParts>
    <vt:vector size="45" baseType="lpstr">
      <vt:lpstr>Arial</vt:lpstr>
      <vt:lpstr>Calibri</vt:lpstr>
      <vt:lpstr>Consolas</vt:lpstr>
      <vt:lpstr>Segoe UI</vt:lpstr>
      <vt:lpstr>Segoe UI Semibold</vt:lpstr>
      <vt:lpstr>Wingdings</vt:lpstr>
      <vt:lpstr>Azure 1</vt:lpstr>
      <vt:lpstr>AZ-400.00 Module 9: Manage artifact versioning, security and compliance</vt:lpstr>
      <vt:lpstr>Lesson 01: Module overview</vt:lpstr>
      <vt:lpstr>Module overview</vt:lpstr>
      <vt:lpstr>Learning objectives</vt:lpstr>
      <vt:lpstr>Lesson 02: Package security</vt:lpstr>
      <vt:lpstr>Package feeds</vt:lpstr>
      <vt:lpstr>Package compliance</vt:lpstr>
      <vt:lpstr>Securing access to package feeds</vt:lpstr>
      <vt:lpstr>Roles</vt:lpstr>
      <vt:lpstr>Permissions</vt:lpstr>
      <vt:lpstr>Credentials</vt:lpstr>
      <vt:lpstr>Lesson 03: Open source software</vt:lpstr>
      <vt:lpstr>How software is built</vt:lpstr>
      <vt:lpstr>What is open-source software?</vt:lpstr>
      <vt:lpstr>Challenge to corporates</vt:lpstr>
      <vt:lpstr>Licenses and vulnerabilities</vt:lpstr>
      <vt:lpstr>Open-source package license</vt:lpstr>
      <vt:lpstr>License implications and rating</vt:lpstr>
      <vt:lpstr>Lesson 04: Integrating license and vulnerability scans</vt:lpstr>
      <vt:lpstr>Artifact repositories</vt:lpstr>
      <vt:lpstr>Tools for assessing package security and license rating</vt:lpstr>
      <vt:lpstr>White source bolt</vt:lpstr>
      <vt:lpstr>Interpret alerts from assessment</vt:lpstr>
      <vt:lpstr>Lesson 05: Implement a versioning strategy</vt:lpstr>
      <vt:lpstr>Introduction to versioning</vt:lpstr>
      <vt:lpstr>Immutable packages</vt:lpstr>
      <vt:lpstr>Versioning of artifacts</vt:lpstr>
      <vt:lpstr>Semantic versioning</vt:lpstr>
      <vt:lpstr>Release views</vt:lpstr>
      <vt:lpstr>Promoting packages</vt:lpstr>
      <vt:lpstr>Promoting a package</vt:lpstr>
      <vt:lpstr>Best practices for versioning</vt:lpstr>
      <vt:lpstr>Pushing from the pipeline</vt:lpstr>
      <vt:lpstr>Lesson 06: Lab</vt:lpstr>
      <vt:lpstr>Lab: Manage open source security and license with white source</vt:lpstr>
      <vt:lpstr>Lesson 07: Module review and takeaways</vt:lpstr>
      <vt:lpstr>What did you learn?</vt:lpstr>
      <vt:lpstr>Module review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Dependency Management</dc:title>
  <dc:creator>athissen@xpirit.com</dc:creator>
  <cp:lastModifiedBy>Kimberly Rasmusson-Anderson</cp:lastModifiedBy>
  <cp:revision>3</cp:revision>
  <dcterms:created xsi:type="dcterms:W3CDTF">2020-04-30T00:33:59Z</dcterms:created>
  <dcterms:modified xsi:type="dcterms:W3CDTF">2020-07-22T22:0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020305D32150D746ACEC7EE1F47590FB</vt:lpwstr>
  </property>
</Properties>
</file>